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3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4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13" r:id="rId1"/>
    <p:sldMasterId id="2147483951" r:id="rId2"/>
    <p:sldMasterId id="2147484228" r:id="rId3"/>
    <p:sldMasterId id="2147484231" r:id="rId4"/>
    <p:sldMasterId id="2147484251" r:id="rId5"/>
    <p:sldMasterId id="2147484312" r:id="rId6"/>
  </p:sldMasterIdLst>
  <p:notesMasterIdLst>
    <p:notesMasterId r:id="rId15"/>
  </p:notesMasterIdLst>
  <p:handoutMasterIdLst>
    <p:handoutMasterId r:id="rId16"/>
  </p:handoutMasterIdLst>
  <p:sldIdLst>
    <p:sldId id="397" r:id="rId7"/>
    <p:sldId id="385" r:id="rId8"/>
    <p:sldId id="306" r:id="rId9"/>
    <p:sldId id="386" r:id="rId10"/>
    <p:sldId id="406" r:id="rId11"/>
    <p:sldId id="408" r:id="rId12"/>
    <p:sldId id="409" r:id="rId13"/>
    <p:sldId id="396" r:id="rId14"/>
  </p:sldIdLst>
  <p:sldSz cx="10691813" cy="7559675"/>
  <p:notesSz cx="6797675" cy="9926638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илисов Артём Викторович" initials="ВАВ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40AD"/>
    <a:srgbClr val="F83458"/>
    <a:srgbClr val="DEE2F4"/>
    <a:srgbClr val="CBD4F5"/>
    <a:srgbClr val="FF496C"/>
    <a:srgbClr val="EBEEF9"/>
    <a:srgbClr val="E2E6F6"/>
    <a:srgbClr val="DFE5F9"/>
    <a:srgbClr val="EDF5FE"/>
    <a:srgbClr val="FEE6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07" autoAdjust="0"/>
    <p:restoredTop sz="96433" autoAdjust="0"/>
  </p:normalViewPr>
  <p:slideViewPr>
    <p:cSldViewPr snapToGrid="0">
      <p:cViewPr varScale="1">
        <p:scale>
          <a:sx n="80" d="100"/>
          <a:sy n="80" d="100"/>
        </p:scale>
        <p:origin x="1200" y="48"/>
      </p:cViewPr>
      <p:guideLst>
        <p:guide orient="horz" pos="2381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3936" y="-84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C322FD-42AE-4246-AB70-1162A314EA1A}" type="datetimeFigureOut">
              <a:rPr lang="ru-RU" smtClean="0"/>
              <a:t>08.08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110C44-D1E6-4D64-B6C3-8DE2D9AADA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388319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A49908-1920-482F-A6D2-BADA50BDBEE5}" type="datetimeFigureOut">
              <a:rPr lang="ru-RU" smtClean="0"/>
              <a:t>08.08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1425"/>
            <a:ext cx="47371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56703D-D415-4AB4-BF73-AFF4B5C7A4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74678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56703D-D415-4AB4-BF73-AFF4B5C7A4A2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794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5799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69361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1CEEE-8395-4293-B657-D4AF5C85FB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6285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2816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687924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746166" y="3191289"/>
            <a:ext cx="4715024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езентац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2</a:t>
            </a:r>
            <a:r>
              <a:rPr lang="en-US" dirty="0" smtClean="0"/>
              <a:t>4</a:t>
            </a:r>
            <a:r>
              <a:rPr lang="ru-RU" dirty="0" smtClean="0"/>
              <a:t> пт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746166" y="4970470"/>
            <a:ext cx="4715024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673" y="525445"/>
            <a:ext cx="4198759" cy="1108331"/>
          </a:xfrm>
          <a:prstGeom prst="rect">
            <a:avLst/>
          </a:prstGeom>
        </p:spPr>
      </p:pic>
      <p:sp>
        <p:nvSpPr>
          <p:cNvPr id="22" name="Объект 2"/>
          <p:cNvSpPr>
            <a:spLocks noGrp="1"/>
          </p:cNvSpPr>
          <p:nvPr>
            <p:ph idx="13" hasCustomPrompt="1"/>
          </p:nvPr>
        </p:nvSpPr>
        <p:spPr>
          <a:xfrm>
            <a:off x="3746166" y="6875481"/>
            <a:ext cx="4715024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1273126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97" r="17795"/>
          <a:stretch/>
        </p:blipFill>
        <p:spPr>
          <a:xfrm>
            <a:off x="1" y="0"/>
            <a:ext cx="6314063" cy="7559675"/>
          </a:xfrm>
          <a:prstGeom prst="rect">
            <a:avLst/>
          </a:prstGeom>
        </p:spPr>
      </p:pic>
      <p:sp>
        <p:nvSpPr>
          <p:cNvPr id="8" name="Полилиния 7"/>
          <p:cNvSpPr/>
          <p:nvPr userDrawn="1"/>
        </p:nvSpPr>
        <p:spPr>
          <a:xfrm>
            <a:off x="4548554" y="4"/>
            <a:ext cx="6143262" cy="7559674"/>
          </a:xfrm>
          <a:custGeom>
            <a:avLst/>
            <a:gdLst>
              <a:gd name="connsiteX0" fmla="*/ 286718 w 5253925"/>
              <a:gd name="connsiteY0" fmla="*/ 0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86718 w 5253925"/>
              <a:gd name="connsiteY5" fmla="*/ 0 h 6873498"/>
              <a:gd name="connsiteX0" fmla="*/ 294467 w 5253925"/>
              <a:gd name="connsiteY0" fmla="*/ 15499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94467 w 5253925"/>
              <a:gd name="connsiteY5" fmla="*/ 15499 h 6873498"/>
              <a:gd name="connsiteX0" fmla="*/ 294467 w 5253925"/>
              <a:gd name="connsiteY0" fmla="*/ 0 h 6857999"/>
              <a:gd name="connsiteX1" fmla="*/ 5114440 w 5253925"/>
              <a:gd name="connsiteY1" fmla="*/ 193728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294467 w 5253925"/>
              <a:gd name="connsiteY0" fmla="*/ 0 h 6857999"/>
              <a:gd name="connsiteX1" fmla="*/ 5253925 w 5253925"/>
              <a:gd name="connsiteY1" fmla="*/ 0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925" h="6857999">
                <a:moveTo>
                  <a:pt x="294467" y="0"/>
                </a:moveTo>
                <a:lnTo>
                  <a:pt x="5253925" y="0"/>
                </a:lnTo>
                <a:lnTo>
                  <a:pt x="5253925" y="6857999"/>
                </a:lnTo>
                <a:lnTo>
                  <a:pt x="0" y="6857999"/>
                </a:lnTo>
                <a:lnTo>
                  <a:pt x="1108128" y="2069023"/>
                </a:lnTo>
                <a:lnTo>
                  <a:pt x="29446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1" tIns="52131" rIns="104261" bIns="52131" rtlCol="0" anchor="ctr"/>
          <a:lstStyle/>
          <a:p>
            <a:pPr algn="ctr" defTabSz="1042615"/>
            <a:endParaRPr lang="ru-RU" sz="21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56269" y="1636700"/>
            <a:ext cx="4125646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езентац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2</a:t>
            </a:r>
            <a:r>
              <a:rPr lang="en-US" dirty="0" smtClean="0"/>
              <a:t>4</a:t>
            </a:r>
            <a:r>
              <a:rPr lang="ru-RU" dirty="0" smtClean="0"/>
              <a:t> пт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356269" y="3415881"/>
            <a:ext cx="4125646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2628" y="5684849"/>
            <a:ext cx="4198759" cy="1108331"/>
          </a:xfrm>
          <a:prstGeom prst="rect">
            <a:avLst/>
          </a:prstGeom>
        </p:spPr>
      </p:pic>
      <p:sp>
        <p:nvSpPr>
          <p:cNvPr id="14" name="Объект 2"/>
          <p:cNvSpPr>
            <a:spLocks noGrp="1"/>
          </p:cNvSpPr>
          <p:nvPr>
            <p:ph idx="13" hasCustomPrompt="1"/>
          </p:nvPr>
        </p:nvSpPr>
        <p:spPr>
          <a:xfrm>
            <a:off x="6363372" y="604818"/>
            <a:ext cx="2694299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309196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356269" y="1636700"/>
            <a:ext cx="4125646" cy="1620430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презентац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2</a:t>
            </a:r>
            <a:r>
              <a:rPr lang="en-US" dirty="0" smtClean="0"/>
              <a:t>4</a:t>
            </a:r>
            <a:r>
              <a:rPr lang="ru-RU" dirty="0" smtClean="0"/>
              <a:t> пт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356269" y="3415881"/>
            <a:ext cx="4125646" cy="11381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Подзаголовок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 15 пт.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2628" y="5684849"/>
            <a:ext cx="4198759" cy="1108331"/>
          </a:xfrm>
          <a:prstGeom prst="rect">
            <a:avLst/>
          </a:prstGeom>
        </p:spPr>
      </p:pic>
      <p:sp>
        <p:nvSpPr>
          <p:cNvPr id="9" name="Объект 2"/>
          <p:cNvSpPr>
            <a:spLocks noGrp="1"/>
          </p:cNvSpPr>
          <p:nvPr>
            <p:ph idx="13" hasCustomPrompt="1"/>
          </p:nvPr>
        </p:nvSpPr>
        <p:spPr>
          <a:xfrm>
            <a:off x="6363372" y="604818"/>
            <a:ext cx="2694299" cy="317502"/>
          </a:xfrm>
        </p:spPr>
        <p:txBody>
          <a:bodyPr/>
          <a:lstStyle>
            <a:lvl1pPr marL="0" marR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/>
            </a:lvl1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Д.ММ.ГГГГ</a:t>
            </a:r>
          </a:p>
        </p:txBody>
      </p:sp>
    </p:spTree>
    <p:extLst>
      <p:ext uri="{BB962C8B-B14F-4D97-AF65-F5344CB8AC3E}">
        <p14:creationId xmlns:p14="http://schemas.microsoft.com/office/powerpoint/2010/main" val="11653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Слайд-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лилиния 5"/>
          <p:cNvSpPr/>
          <p:nvPr userDrawn="1"/>
        </p:nvSpPr>
        <p:spPr>
          <a:xfrm>
            <a:off x="-11997" y="606844"/>
            <a:ext cx="8978368" cy="6341498"/>
          </a:xfrm>
          <a:custGeom>
            <a:avLst/>
            <a:gdLst>
              <a:gd name="connsiteX0" fmla="*/ 286718 w 5253925"/>
              <a:gd name="connsiteY0" fmla="*/ 0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86718 w 5253925"/>
              <a:gd name="connsiteY5" fmla="*/ 0 h 6873498"/>
              <a:gd name="connsiteX0" fmla="*/ 294467 w 5253925"/>
              <a:gd name="connsiteY0" fmla="*/ 15499 h 6873498"/>
              <a:gd name="connsiteX1" fmla="*/ 5253925 w 5253925"/>
              <a:gd name="connsiteY1" fmla="*/ 0 h 6873498"/>
              <a:gd name="connsiteX2" fmla="*/ 5253925 w 5253925"/>
              <a:gd name="connsiteY2" fmla="*/ 6873498 h 6873498"/>
              <a:gd name="connsiteX3" fmla="*/ 0 w 5253925"/>
              <a:gd name="connsiteY3" fmla="*/ 6873498 h 6873498"/>
              <a:gd name="connsiteX4" fmla="*/ 1108128 w 5253925"/>
              <a:gd name="connsiteY4" fmla="*/ 2084522 h 6873498"/>
              <a:gd name="connsiteX5" fmla="*/ 294467 w 5253925"/>
              <a:gd name="connsiteY5" fmla="*/ 15499 h 6873498"/>
              <a:gd name="connsiteX0" fmla="*/ 294467 w 5253925"/>
              <a:gd name="connsiteY0" fmla="*/ 0 h 6857999"/>
              <a:gd name="connsiteX1" fmla="*/ 5114440 w 5253925"/>
              <a:gd name="connsiteY1" fmla="*/ 193728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294467 w 5253925"/>
              <a:gd name="connsiteY0" fmla="*/ 0 h 6857999"/>
              <a:gd name="connsiteX1" fmla="*/ 5253925 w 5253925"/>
              <a:gd name="connsiteY1" fmla="*/ 0 h 6857999"/>
              <a:gd name="connsiteX2" fmla="*/ 5253925 w 5253925"/>
              <a:gd name="connsiteY2" fmla="*/ 6857999 h 6857999"/>
              <a:gd name="connsiteX3" fmla="*/ 0 w 5253925"/>
              <a:gd name="connsiteY3" fmla="*/ 6857999 h 6857999"/>
              <a:gd name="connsiteX4" fmla="*/ 1108128 w 5253925"/>
              <a:gd name="connsiteY4" fmla="*/ 2069023 h 6857999"/>
              <a:gd name="connsiteX5" fmla="*/ 294467 w 5253925"/>
              <a:gd name="connsiteY5" fmla="*/ 0 h 6857999"/>
              <a:gd name="connsiteX0" fmla="*/ 4207789 w 9167247"/>
              <a:gd name="connsiteY0" fmla="*/ 0 h 6857999"/>
              <a:gd name="connsiteX1" fmla="*/ 0 w 9167247"/>
              <a:gd name="connsiteY1" fmla="*/ 0 h 6857999"/>
              <a:gd name="connsiteX2" fmla="*/ 9167247 w 9167247"/>
              <a:gd name="connsiteY2" fmla="*/ 6857999 h 6857999"/>
              <a:gd name="connsiteX3" fmla="*/ 3913322 w 9167247"/>
              <a:gd name="connsiteY3" fmla="*/ 6857999 h 6857999"/>
              <a:gd name="connsiteX4" fmla="*/ 5021450 w 9167247"/>
              <a:gd name="connsiteY4" fmla="*/ 2069023 h 6857999"/>
              <a:gd name="connsiteX5" fmla="*/ 4207789 w 9167247"/>
              <a:gd name="connsiteY5" fmla="*/ 0 h 6857999"/>
              <a:gd name="connsiteX0" fmla="*/ 4207789 w 5021450"/>
              <a:gd name="connsiteY0" fmla="*/ 0 h 6873497"/>
              <a:gd name="connsiteX1" fmla="*/ 0 w 5021450"/>
              <a:gd name="connsiteY1" fmla="*/ 0 h 6873497"/>
              <a:gd name="connsiteX2" fmla="*/ 15498 w 5021450"/>
              <a:gd name="connsiteY2" fmla="*/ 6873497 h 6873497"/>
              <a:gd name="connsiteX3" fmla="*/ 3913322 w 5021450"/>
              <a:gd name="connsiteY3" fmla="*/ 6857999 h 6873497"/>
              <a:gd name="connsiteX4" fmla="*/ 5021450 w 5021450"/>
              <a:gd name="connsiteY4" fmla="*/ 2069023 h 6873497"/>
              <a:gd name="connsiteX5" fmla="*/ 4207789 w 5021450"/>
              <a:gd name="connsiteY5" fmla="*/ 0 h 6873497"/>
              <a:gd name="connsiteX0" fmla="*/ 7722556 w 8536217"/>
              <a:gd name="connsiteY0" fmla="*/ 0 h 6873497"/>
              <a:gd name="connsiteX1" fmla="*/ 0 w 8536217"/>
              <a:gd name="connsiteY1" fmla="*/ 9246 h 6873497"/>
              <a:gd name="connsiteX2" fmla="*/ 3530265 w 8536217"/>
              <a:gd name="connsiteY2" fmla="*/ 6873497 h 6873497"/>
              <a:gd name="connsiteX3" fmla="*/ 7428089 w 8536217"/>
              <a:gd name="connsiteY3" fmla="*/ 6857999 h 6873497"/>
              <a:gd name="connsiteX4" fmla="*/ 8536217 w 8536217"/>
              <a:gd name="connsiteY4" fmla="*/ 2069023 h 6873497"/>
              <a:gd name="connsiteX5" fmla="*/ 7722556 w 8536217"/>
              <a:gd name="connsiteY5" fmla="*/ 0 h 6873497"/>
              <a:gd name="connsiteX0" fmla="*/ 7722556 w 8536217"/>
              <a:gd name="connsiteY0" fmla="*/ 0 h 6864251"/>
              <a:gd name="connsiteX1" fmla="*/ 0 w 8536217"/>
              <a:gd name="connsiteY1" fmla="*/ 9246 h 6864251"/>
              <a:gd name="connsiteX2" fmla="*/ 6416 w 8536217"/>
              <a:gd name="connsiteY2" fmla="*/ 6864251 h 6864251"/>
              <a:gd name="connsiteX3" fmla="*/ 7428089 w 8536217"/>
              <a:gd name="connsiteY3" fmla="*/ 6857999 h 6864251"/>
              <a:gd name="connsiteX4" fmla="*/ 8536217 w 8536217"/>
              <a:gd name="connsiteY4" fmla="*/ 2069023 h 6864251"/>
              <a:gd name="connsiteX5" fmla="*/ 7722556 w 8536217"/>
              <a:gd name="connsiteY5" fmla="*/ 0 h 6864251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36513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45759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57999"/>
              <a:gd name="connsiteX1" fmla="*/ 0 w 8536217"/>
              <a:gd name="connsiteY1" fmla="*/ 9246 h 6857999"/>
              <a:gd name="connsiteX2" fmla="*/ 15497 w 8536217"/>
              <a:gd name="connsiteY2" fmla="*/ 6845759 h 6857999"/>
              <a:gd name="connsiteX3" fmla="*/ 7428089 w 8536217"/>
              <a:gd name="connsiteY3" fmla="*/ 6857999 h 6857999"/>
              <a:gd name="connsiteX4" fmla="*/ 8536217 w 8536217"/>
              <a:gd name="connsiteY4" fmla="*/ 2069023 h 6857999"/>
              <a:gd name="connsiteX5" fmla="*/ 7722556 w 8536217"/>
              <a:gd name="connsiteY5" fmla="*/ 0 h 6857999"/>
              <a:gd name="connsiteX0" fmla="*/ 7722556 w 8536217"/>
              <a:gd name="connsiteY0" fmla="*/ 0 h 6873498"/>
              <a:gd name="connsiteX1" fmla="*/ 0 w 8536217"/>
              <a:gd name="connsiteY1" fmla="*/ 9246 h 6873498"/>
              <a:gd name="connsiteX2" fmla="*/ 15497 w 8536217"/>
              <a:gd name="connsiteY2" fmla="*/ 6873498 h 6873498"/>
              <a:gd name="connsiteX3" fmla="*/ 7428089 w 8536217"/>
              <a:gd name="connsiteY3" fmla="*/ 6857999 h 6873498"/>
              <a:gd name="connsiteX4" fmla="*/ 8536217 w 8536217"/>
              <a:gd name="connsiteY4" fmla="*/ 2069023 h 6873498"/>
              <a:gd name="connsiteX5" fmla="*/ 7722556 w 8536217"/>
              <a:gd name="connsiteY5" fmla="*/ 0 h 6873498"/>
              <a:gd name="connsiteX0" fmla="*/ 8185741 w 8999402"/>
              <a:gd name="connsiteY0" fmla="*/ 0 h 6873498"/>
              <a:gd name="connsiteX1" fmla="*/ 0 w 8999402"/>
              <a:gd name="connsiteY1" fmla="*/ 0 h 6873498"/>
              <a:gd name="connsiteX2" fmla="*/ 478682 w 8999402"/>
              <a:gd name="connsiteY2" fmla="*/ 6873498 h 6873498"/>
              <a:gd name="connsiteX3" fmla="*/ 7891274 w 8999402"/>
              <a:gd name="connsiteY3" fmla="*/ 6857999 h 6873498"/>
              <a:gd name="connsiteX4" fmla="*/ 8999402 w 8999402"/>
              <a:gd name="connsiteY4" fmla="*/ 2069023 h 6873498"/>
              <a:gd name="connsiteX5" fmla="*/ 8185741 w 8999402"/>
              <a:gd name="connsiteY5" fmla="*/ 0 h 6873498"/>
              <a:gd name="connsiteX0" fmla="*/ 8185741 w 8999402"/>
              <a:gd name="connsiteY0" fmla="*/ 0 h 6873498"/>
              <a:gd name="connsiteX1" fmla="*/ 0 w 8999402"/>
              <a:gd name="connsiteY1" fmla="*/ 0 h 6873498"/>
              <a:gd name="connsiteX2" fmla="*/ 6413 w 8999402"/>
              <a:gd name="connsiteY2" fmla="*/ 6873498 h 6873498"/>
              <a:gd name="connsiteX3" fmla="*/ 7891274 w 8999402"/>
              <a:gd name="connsiteY3" fmla="*/ 6857999 h 6873498"/>
              <a:gd name="connsiteX4" fmla="*/ 8999402 w 8999402"/>
              <a:gd name="connsiteY4" fmla="*/ 2069023 h 6873498"/>
              <a:gd name="connsiteX5" fmla="*/ 8185741 w 8999402"/>
              <a:gd name="connsiteY5" fmla="*/ 0 h 6873498"/>
              <a:gd name="connsiteX0" fmla="*/ 8185741 w 8999402"/>
              <a:gd name="connsiteY0" fmla="*/ 0 h 6864252"/>
              <a:gd name="connsiteX1" fmla="*/ 0 w 8999402"/>
              <a:gd name="connsiteY1" fmla="*/ 0 h 6864252"/>
              <a:gd name="connsiteX2" fmla="*/ 6413 w 8999402"/>
              <a:gd name="connsiteY2" fmla="*/ 6864252 h 6864252"/>
              <a:gd name="connsiteX3" fmla="*/ 7891274 w 8999402"/>
              <a:gd name="connsiteY3" fmla="*/ 6857999 h 6864252"/>
              <a:gd name="connsiteX4" fmla="*/ 8999402 w 8999402"/>
              <a:gd name="connsiteY4" fmla="*/ 2069023 h 6864252"/>
              <a:gd name="connsiteX5" fmla="*/ 8185741 w 8999402"/>
              <a:gd name="connsiteY5" fmla="*/ 0 h 6864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99402" h="6864252">
                <a:moveTo>
                  <a:pt x="8185741" y="0"/>
                </a:moveTo>
                <a:lnTo>
                  <a:pt x="0" y="0"/>
                </a:lnTo>
                <a:cubicBezTo>
                  <a:pt x="2139" y="2285002"/>
                  <a:pt x="4274" y="4579250"/>
                  <a:pt x="6413" y="6864252"/>
                </a:cubicBezTo>
                <a:lnTo>
                  <a:pt x="7891274" y="6857999"/>
                </a:lnTo>
                <a:lnTo>
                  <a:pt x="8999402" y="2069023"/>
                </a:lnTo>
                <a:lnTo>
                  <a:pt x="8185741" y="0"/>
                </a:lnTo>
                <a:close/>
              </a:path>
            </a:pathLst>
          </a:custGeom>
          <a:solidFill>
            <a:srgbClr val="000000">
              <a:alpha val="1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61" tIns="52131" rIns="104261" bIns="52131" rtlCol="0" anchor="ctr"/>
          <a:lstStyle/>
          <a:p>
            <a:pPr algn="ctr" defTabSz="1042615"/>
            <a:endParaRPr lang="ru-RU" sz="21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325182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лайд-разделитель </a:t>
            </a:r>
            <a:br>
              <a:rPr lang="ru-RU" dirty="0" smtClean="0"/>
            </a:br>
            <a:r>
              <a:rPr lang="ru-RU" dirty="0" smtClean="0"/>
              <a:t>Название раздел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br>
              <a:rPr lang="ru-RU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, 24 пт.</a:t>
            </a:r>
          </a:p>
        </p:txBody>
      </p:sp>
      <p:sp>
        <p:nvSpPr>
          <p:cNvPr id="9" name="Подзаголовок 2"/>
          <p:cNvSpPr txBox="1">
            <a:spLocks/>
          </p:cNvSpPr>
          <p:nvPr userDrawn="1"/>
        </p:nvSpPr>
        <p:spPr>
          <a:xfrm>
            <a:off x="3325182" y="6240480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B44EA-6A61-441B-9399-54A33483BC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3325182" y="1636699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шрифт </a:t>
            </a:r>
            <a:r>
              <a:rPr lang="ru-RU" sz="1100" dirty="0" err="1" smtClean="0">
                <a:solidFill>
                  <a:schemeClr val="tx1"/>
                </a:solidFill>
              </a:rPr>
              <a:t>Arial</a:t>
            </a:r>
            <a:r>
              <a:rPr lang="ru-RU" sz="1100" dirty="0" smtClean="0">
                <a:solidFill>
                  <a:schemeClr val="tx1"/>
                </a:solidFill>
              </a:rPr>
              <a:t> 10 пт.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808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Слайд-разделитель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799276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лайд-разделитель </a:t>
            </a:r>
            <a:br>
              <a:rPr lang="ru-RU" dirty="0" smtClean="0"/>
            </a:br>
            <a:r>
              <a:rPr lang="ru-RU" dirty="0" smtClean="0"/>
              <a:t>Название раздел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br>
              <a:rPr lang="ru-RU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, 24 пт.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62032" y="6954860"/>
            <a:ext cx="2494756" cy="402483"/>
          </a:xfrm>
        </p:spPr>
        <p:txBody>
          <a:bodyPr/>
          <a:lstStyle/>
          <a:p>
            <a:fld id="{52F389DC-9E19-4EE8-A8D3-3244F47808F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379" y="5529026"/>
            <a:ext cx="4198759" cy="1108331"/>
          </a:xfrm>
          <a:prstGeom prst="rect">
            <a:avLst/>
          </a:prstGeom>
        </p:spPr>
      </p:pic>
      <p:sp>
        <p:nvSpPr>
          <p:cNvPr id="13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799276" y="1636699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шрифт </a:t>
            </a:r>
            <a:r>
              <a:rPr lang="ru-RU" sz="1100" dirty="0" err="1" smtClean="0">
                <a:solidFill>
                  <a:schemeClr val="tx1"/>
                </a:solidFill>
              </a:rPr>
              <a:t>Arial</a:t>
            </a:r>
            <a:r>
              <a:rPr lang="ru-RU" sz="1100" dirty="0" smtClean="0">
                <a:solidFill>
                  <a:schemeClr val="tx1"/>
                </a:solidFill>
              </a:rPr>
              <a:t> 10 пт.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94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Слайд-разделитель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335544" y="2430454"/>
            <a:ext cx="4125646" cy="254001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7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лайд-разделитель </a:t>
            </a:r>
            <a:br>
              <a:rPr lang="ru-RU" dirty="0" smtClean="0"/>
            </a:br>
            <a:r>
              <a:rPr lang="ru-RU" dirty="0" smtClean="0"/>
              <a:t>Название раздела </a:t>
            </a:r>
            <a:br>
              <a:rPr lang="ru-RU" dirty="0" smtClean="0"/>
            </a:br>
            <a:r>
              <a:rPr lang="ru-RU" dirty="0" smtClean="0"/>
              <a:t>презентации</a:t>
            </a:r>
            <a:br>
              <a:rPr lang="ru-RU" dirty="0" smtClean="0"/>
            </a:br>
            <a:r>
              <a:rPr lang="ru-RU" dirty="0" smtClean="0"/>
              <a:t>шрифт </a:t>
            </a:r>
            <a:r>
              <a:rPr lang="ru-RU" dirty="0" err="1" smtClean="0"/>
              <a:t>Arial</a:t>
            </a:r>
            <a:r>
              <a:rPr lang="ru-RU" dirty="0" smtClean="0"/>
              <a:t>, 24 пт.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356315" y="5837997"/>
            <a:ext cx="2494756" cy="40248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E28C9B7-77DB-42B5-AD07-0761FECA3530}" type="datetime1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08.08.2023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7" name="Подзаголовок 2"/>
          <p:cNvSpPr txBox="1">
            <a:spLocks/>
          </p:cNvSpPr>
          <p:nvPr userDrawn="1"/>
        </p:nvSpPr>
        <p:spPr>
          <a:xfrm>
            <a:off x="4335544" y="6954858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4" hasCustomPrompt="1"/>
          </p:nvPr>
        </p:nvSpPr>
        <p:spPr>
          <a:xfrm>
            <a:off x="4335544" y="1716075"/>
            <a:ext cx="2693371" cy="475980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/>
                </a:solidFill>
              </a:rPr>
              <a:t>Заголовок презентации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шрифт </a:t>
            </a:r>
            <a:r>
              <a:rPr lang="ru-RU" sz="1100" dirty="0" err="1" smtClean="0">
                <a:solidFill>
                  <a:schemeClr val="tx1"/>
                </a:solidFill>
              </a:rPr>
              <a:t>Arial</a:t>
            </a:r>
            <a:r>
              <a:rPr lang="ru-RU" sz="1100" dirty="0" smtClean="0">
                <a:solidFill>
                  <a:schemeClr val="tx1"/>
                </a:solidFill>
              </a:rPr>
              <a:t> 10 пт.</a:t>
            </a:r>
            <a:endParaRPr lang="ru-RU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321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Название слайда, шрифт </a:t>
            </a:r>
            <a:r>
              <a:rPr lang="ru-RU" dirty="0" err="1" smtClean="0"/>
              <a:t>Arial</a:t>
            </a:r>
            <a:r>
              <a:rPr lang="ru-RU" dirty="0" smtClean="0"/>
              <a:t>, 2</a:t>
            </a:r>
            <a:r>
              <a:rPr lang="en-US" dirty="0" smtClean="0"/>
              <a:t>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>
              <a:lnSpc>
                <a:spcPct val="150000"/>
              </a:lnSpc>
              <a:spcBef>
                <a:spcPts val="2053"/>
              </a:spcBef>
              <a:defRPr/>
            </a:lvl1pPr>
          </a:lstStyle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446074D7-7B97-4C60-B38F-D77E1B39E8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44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505350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пы булитов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ипы </a:t>
            </a:r>
            <a:r>
              <a:rPr lang="ru-RU" dirty="0" err="1" smtClean="0"/>
              <a:t>булитов</a:t>
            </a:r>
            <a:endParaRPr lang="ru-RU" dirty="0" smtClean="0"/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3"/>
            <a:r>
              <a:rPr lang="ru-RU" dirty="0" smtClean="0"/>
              <a:t>Третий уровень</a:t>
            </a:r>
          </a:p>
          <a:p>
            <a:pPr lvl="4"/>
            <a:r>
              <a:rPr lang="ru-RU" dirty="0" smtClean="0"/>
              <a:t>Четвер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86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4"/>
            <a:ext cx="9021159" cy="873130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E7F6E1B9-6978-49A0-B769-AA0B478E90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670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2" y="1557324"/>
            <a:ext cx="3969347" cy="5000656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EFB904C4-4AB9-4D84-8905-B291CF4EBD0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744" y="1160449"/>
            <a:ext cx="5588651" cy="5684849"/>
          </a:xfrm>
          <a:prstGeom prst="rect">
            <a:avLst/>
          </a:prstGeom>
        </p:spPr>
      </p:pic>
      <p:sp>
        <p:nvSpPr>
          <p:cNvPr id="9" name="Полилиния 8"/>
          <p:cNvSpPr/>
          <p:nvPr userDrawn="1"/>
        </p:nvSpPr>
        <p:spPr>
          <a:xfrm>
            <a:off x="5237176" y="2084252"/>
            <a:ext cx="4412638" cy="3886613"/>
          </a:xfrm>
          <a:custGeom>
            <a:avLst/>
            <a:gdLst>
              <a:gd name="connsiteX0" fmla="*/ 15498 w 3773837"/>
              <a:gd name="connsiteY0" fmla="*/ 0 h 3525865"/>
              <a:gd name="connsiteX1" fmla="*/ 3332136 w 3773837"/>
              <a:gd name="connsiteY1" fmla="*/ 0 h 3525865"/>
              <a:gd name="connsiteX2" fmla="*/ 3773837 w 3773837"/>
              <a:gd name="connsiteY2" fmla="*/ 1751309 h 3525865"/>
              <a:gd name="connsiteX3" fmla="*/ 3363132 w 3773837"/>
              <a:gd name="connsiteY3" fmla="*/ 3525865 h 3525865"/>
              <a:gd name="connsiteX4" fmla="*/ 0 w 3773837"/>
              <a:gd name="connsiteY4" fmla="*/ 3525865 h 3525865"/>
              <a:gd name="connsiteX5" fmla="*/ 418454 w 3773837"/>
              <a:gd name="connsiteY5" fmla="*/ 1720312 h 3525865"/>
              <a:gd name="connsiteX6" fmla="*/ 15498 w 3773837"/>
              <a:gd name="connsiteY6" fmla="*/ 0 h 3525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73837" h="3525865">
                <a:moveTo>
                  <a:pt x="15498" y="0"/>
                </a:moveTo>
                <a:lnTo>
                  <a:pt x="3332136" y="0"/>
                </a:lnTo>
                <a:lnTo>
                  <a:pt x="3773837" y="1751309"/>
                </a:lnTo>
                <a:lnTo>
                  <a:pt x="3363132" y="3525865"/>
                </a:lnTo>
                <a:lnTo>
                  <a:pt x="0" y="3525865"/>
                </a:lnTo>
                <a:lnTo>
                  <a:pt x="418454" y="1720312"/>
                </a:lnTo>
                <a:lnTo>
                  <a:pt x="15498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1042615"/>
            <a:r>
              <a:rPr lang="ru-RU" sz="16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Arial" pitchFamily="34" charset="0"/>
              </a:rPr>
              <a:t>Текст</a:t>
            </a:r>
            <a:endParaRPr lang="ru-RU" sz="1600" dirty="0">
              <a:solidFill>
                <a:prstClr val="black">
                  <a:lumMod val="75000"/>
                  <a:lumOff val="25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853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й смарт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17209395-9309-40E7-BD11-3D5233B4DE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744" y="1160449"/>
            <a:ext cx="5588651" cy="5684849"/>
          </a:xfrm>
          <a:prstGeom prst="rect">
            <a:avLst/>
          </a:prstGeom>
        </p:spPr>
      </p:pic>
      <p:sp>
        <p:nvSpPr>
          <p:cNvPr id="14" name="Объект 13"/>
          <p:cNvSpPr>
            <a:spLocks noGrp="1"/>
          </p:cNvSpPr>
          <p:nvPr>
            <p:ph sz="quarter" idx="14" hasCustomPrompt="1"/>
          </p:nvPr>
        </p:nvSpPr>
        <p:spPr>
          <a:xfrm>
            <a:off x="5598355" y="2033415"/>
            <a:ext cx="3621481" cy="396882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6" name="Таблица 15"/>
          <p:cNvSpPr>
            <a:spLocks noGrp="1"/>
          </p:cNvSpPr>
          <p:nvPr>
            <p:ph type="tbl" sz="quarter" idx="15"/>
          </p:nvPr>
        </p:nvSpPr>
        <p:spPr>
          <a:xfrm>
            <a:off x="580999" y="1557433"/>
            <a:ext cx="4007573" cy="4920788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1184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 фотографие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009119" y="1716078"/>
            <a:ext cx="4546630" cy="5000654"/>
          </a:xfrm>
        </p:spPr>
        <p:txBody>
          <a:bodyPr/>
          <a:lstStyle>
            <a:lvl1pPr marL="0" indent="0">
              <a:buFont typeface="Arial" pitchFamily="34" charset="0"/>
              <a:buNone/>
              <a:defRPr sz="1600" baseline="0"/>
            </a:lvl1pPr>
            <a:lvl2pPr marL="847126" indent="-325818">
              <a:buFont typeface="Arial" pitchFamily="34" charset="0"/>
              <a:buChar char="►"/>
              <a:defRPr sz="1600" baseline="0"/>
            </a:lvl2pPr>
            <a:lvl3pPr>
              <a:defRPr baseline="0"/>
            </a:lvl3pPr>
            <a:lvl4pPr>
              <a:defRPr baseline="0"/>
            </a:lvl4pPr>
            <a:lvl5pPr>
              <a:defRPr/>
            </a:lvl5pPr>
            <a:lvl6pPr marL="2606537" indent="0">
              <a:buNone/>
              <a:defRPr/>
            </a:lvl6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4"/>
          </p:nvPr>
        </p:nvSpPr>
        <p:spPr>
          <a:xfrm>
            <a:off x="580998" y="1716678"/>
            <a:ext cx="4209901" cy="3968829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168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158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арт-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Рисунок SmartArt 4"/>
          <p:cNvSpPr>
            <a:spLocks noGrp="1"/>
          </p:cNvSpPr>
          <p:nvPr>
            <p:ph type="dgm" sz="quarter" idx="14"/>
          </p:nvPr>
        </p:nvSpPr>
        <p:spPr>
          <a:xfrm>
            <a:off x="546686" y="1557436"/>
            <a:ext cx="9009122" cy="5239275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204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4"/>
          </p:nvPr>
        </p:nvSpPr>
        <p:spPr>
          <a:xfrm>
            <a:off x="546686" y="1557433"/>
            <a:ext cx="9009122" cy="515877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93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604818"/>
            <a:ext cx="9021159" cy="957865"/>
          </a:xfrm>
        </p:spPr>
        <p:txBody>
          <a:bodyPr anchor="t">
            <a:noAutofit/>
          </a:bodyPr>
          <a:lstStyle>
            <a:lvl1pPr>
              <a:defRPr>
                <a:solidFill>
                  <a:srgbClr val="0072BC"/>
                </a:solidFill>
              </a:defRPr>
            </a:lvl1pPr>
          </a:lstStyle>
          <a:p>
            <a:r>
              <a:rPr lang="ru-RU" dirty="0" smtClean="0"/>
              <a:t>Возможные стили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77056" y="7006701"/>
            <a:ext cx="2494756" cy="402483"/>
          </a:xfrm>
        </p:spPr>
        <p:txBody>
          <a:bodyPr/>
          <a:lstStyle/>
          <a:p>
            <a:fld id="{C01A9621-8A2F-4758-BDC8-0E9D01EDB1A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0" name="Подзаголовок 2"/>
          <p:cNvSpPr txBox="1">
            <a:spLocks/>
          </p:cNvSpPr>
          <p:nvPr userDrawn="1"/>
        </p:nvSpPr>
        <p:spPr>
          <a:xfrm>
            <a:off x="580280" y="7020782"/>
            <a:ext cx="4125646" cy="5690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Tx/>
              <a:buSzPct val="80000"/>
              <a:buFont typeface="Arial" pitchFamily="34" charset="0"/>
              <a:buNone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 smtClean="0">
                <a:solidFill>
                  <a:prstClr val="black"/>
                </a:solidFill>
              </a:rPr>
              <a:t>Акционерное общество «Российский Банк поддержки малого и среднего предпринимательства»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13" name="Объект 2"/>
          <p:cNvSpPr>
            <a:spLocks noGrp="1"/>
          </p:cNvSpPr>
          <p:nvPr>
            <p:ph idx="13" hasCustomPrompt="1"/>
          </p:nvPr>
        </p:nvSpPr>
        <p:spPr>
          <a:xfrm>
            <a:off x="534593" y="287316"/>
            <a:ext cx="9021159" cy="31750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звание раздела, </a:t>
            </a:r>
            <a:r>
              <a:rPr lang="ru-RU" sz="11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rial</a:t>
            </a:r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10 пт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Таблица 4"/>
          <p:cNvSpPr>
            <a:spLocks noGrp="1"/>
          </p:cNvSpPr>
          <p:nvPr>
            <p:ph type="tbl" sz="quarter" idx="14"/>
          </p:nvPr>
        </p:nvSpPr>
        <p:spPr>
          <a:xfrm>
            <a:off x="546686" y="1557433"/>
            <a:ext cx="9009122" cy="4920788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9627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40985" y="1477951"/>
            <a:ext cx="5220205" cy="5238781"/>
          </a:xfrm>
        </p:spPr>
        <p:txBody>
          <a:bodyPr lIns="0" tIns="0" rIns="0" bIns="0" anchor="t">
            <a:noAutofit/>
          </a:bodyPr>
          <a:lstStyle>
            <a:lvl1pPr algn="l">
              <a:defRPr sz="27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ключительный 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5340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29054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екстово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4593" y="446067"/>
            <a:ext cx="9021159" cy="635004"/>
          </a:xfrm>
        </p:spPr>
        <p:txBody>
          <a:bodyPr anchor="t">
            <a:noAutofit/>
          </a:bodyPr>
          <a:lstStyle>
            <a:lvl1pPr>
              <a:defRPr sz="2300">
                <a:solidFill>
                  <a:srgbClr val="0072BC"/>
                </a:solidFill>
              </a:defRPr>
            </a:lvl1pPr>
          </a:lstStyle>
          <a:p>
            <a:r>
              <a:rPr lang="ru-RU" dirty="0"/>
              <a:t>Название слайда, шрифт </a:t>
            </a:r>
            <a:r>
              <a:rPr lang="ru-RU" dirty="0" err="1"/>
              <a:t>Arial</a:t>
            </a:r>
            <a:r>
              <a:rPr lang="ru-RU" dirty="0"/>
              <a:t>, 2</a:t>
            </a:r>
            <a:r>
              <a:rPr lang="en-US" dirty="0"/>
              <a:t>0</a:t>
            </a:r>
            <a:r>
              <a:rPr lang="ru-RU" dirty="0"/>
              <a:t> </a:t>
            </a:r>
            <a:r>
              <a:rPr lang="ru-RU" dirty="0" err="1"/>
              <a:t>пт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34593" y="1557327"/>
            <a:ext cx="9021159" cy="5159405"/>
          </a:xfrm>
        </p:spPr>
        <p:txBody>
          <a:bodyPr/>
          <a:lstStyle>
            <a:lvl1pPr>
              <a:lnSpc>
                <a:spcPct val="150000"/>
              </a:lnSpc>
              <a:spcBef>
                <a:spcPts val="2053"/>
              </a:spcBef>
              <a:defRPr/>
            </a:lvl1pPr>
          </a:lstStyle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Текст</a:t>
            </a:r>
          </a:p>
        </p:txBody>
      </p:sp>
      <p:sp>
        <p:nvSpPr>
          <p:cNvPr id="7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040206" y="7034235"/>
            <a:ext cx="2494756" cy="402483"/>
          </a:xfrm>
        </p:spPr>
        <p:txBody>
          <a:bodyPr/>
          <a:lstStyle>
            <a:lvl1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0C3E1D0-B99E-411B-BCE4-D3E6DB7EA499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3937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1886" y="2348403"/>
            <a:ext cx="9088041" cy="162043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3772" y="4283818"/>
            <a:ext cx="7484269" cy="193191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9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5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9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0884EB-F480-43C8-B79E-40610A0F267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E6F60-8952-447D-AF85-B61727C278B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40096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05401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57145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45720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610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63520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42377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6179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485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01269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97629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53831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00333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05974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83355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8125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32951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57737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12489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0803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24564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14881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358919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60028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5609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1741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47786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55463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62888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76874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0554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01806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71004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01990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32155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17471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78672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977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11797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04584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64620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06311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98691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99194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19014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71516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21202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80931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42713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50891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24799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59171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59044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52790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075158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3887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38768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86553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36835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38404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776576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16109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11429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746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98023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168909"/>
      </p:ext>
    </p:extLst>
  </p:cSld>
  <p:clrMapOvr>
    <a:masterClrMapping/>
  </p:clrMapOvr>
  <p:transition spd="med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1CEEE-8395-4293-B657-D4AF5C85FB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8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730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143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96438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702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841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5245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9170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3318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2676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953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9738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8837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01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65215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4474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0997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6316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12203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5954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2920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1287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6939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1450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107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0962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05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7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5391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1180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6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6179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3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1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033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9111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4223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3205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08007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6302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54657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5798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4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4" y="402484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A28ED-4480-4FFC-9AAE-33340337A59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6840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1677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0552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15825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0311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558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26262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21691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535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5876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7229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6377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9629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697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32851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59491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2749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6497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98925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050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55855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142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9757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48269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8981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8979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3326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1118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2079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8954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659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6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56904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916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4575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1263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659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4843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4923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2501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07949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04080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454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6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73551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17665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3072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5515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7070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58769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30412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27971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1"/>
            <a:ext cx="8018860" cy="18251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54458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Титульный слайд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2"/>
            <a:ext cx="10691813" cy="793877"/>
          </a:xfrm>
          <a:prstGeom prst="rect">
            <a:avLst/>
          </a:prstGeom>
          <a:solidFill>
            <a:srgbClr val="1A5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endParaRPr lang="ru-RU" altLang="ru-RU" sz="1579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705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 фото (вариант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910457886_1434x1669.jpg"/>
          <p:cNvSpPr>
            <a:spLocks noGrp="1"/>
          </p:cNvSpPr>
          <p:nvPr>
            <p:ph type="pic" idx="13"/>
          </p:nvPr>
        </p:nvSpPr>
        <p:spPr>
          <a:xfrm>
            <a:off x="4811317" y="-111994"/>
            <a:ext cx="5325227" cy="77906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29023" y="699970"/>
            <a:ext cx="4287863" cy="3242058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9023" y="3891489"/>
            <a:ext cx="4287863" cy="2968216"/>
          </a:xfrm>
          <a:prstGeom prst="rect">
            <a:avLst/>
          </a:prstGeom>
        </p:spPr>
        <p:txBody>
          <a:bodyPr/>
          <a:lstStyle>
            <a:lvl1pPr marL="0" indent="0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1pPr>
            <a:lvl2pPr marL="0" indent="200482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2pPr>
            <a:lvl3pPr marL="0" indent="400964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3pPr>
            <a:lvl4pPr marL="0" indent="601447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4pPr>
            <a:lvl5pPr marL="0" indent="801929" defTabSz="361982">
              <a:lnSpc>
                <a:spcPct val="100000"/>
              </a:lnSpc>
              <a:spcBef>
                <a:spcPts val="0"/>
              </a:spcBef>
              <a:buSzTx/>
              <a:buNone/>
              <a:defRPr sz="2412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262377" y="7212023"/>
            <a:ext cx="161581" cy="206464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27261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42" Type="http://schemas.openxmlformats.org/officeDocument/2006/relationships/slideLayout" Target="../slideLayouts/slideLayout82.xml"/><Relationship Id="rId47" Type="http://schemas.openxmlformats.org/officeDocument/2006/relationships/slideLayout" Target="../slideLayouts/slideLayout87.xml"/><Relationship Id="rId50" Type="http://schemas.openxmlformats.org/officeDocument/2006/relationships/slideLayout" Target="../slideLayouts/slideLayout90.xml"/><Relationship Id="rId55" Type="http://schemas.openxmlformats.org/officeDocument/2006/relationships/slideLayout" Target="../slideLayouts/slideLayout95.xml"/><Relationship Id="rId63" Type="http://schemas.openxmlformats.org/officeDocument/2006/relationships/tags" Target="../tags/tag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slideLayout" Target="../slideLayouts/slideLayout80.xml"/><Relationship Id="rId45" Type="http://schemas.openxmlformats.org/officeDocument/2006/relationships/slideLayout" Target="../slideLayouts/slideLayout85.xml"/><Relationship Id="rId53" Type="http://schemas.openxmlformats.org/officeDocument/2006/relationships/slideLayout" Target="../slideLayouts/slideLayout93.xml"/><Relationship Id="rId58" Type="http://schemas.openxmlformats.org/officeDocument/2006/relationships/slideLayout" Target="../slideLayouts/slideLayout98.xml"/><Relationship Id="rId5" Type="http://schemas.openxmlformats.org/officeDocument/2006/relationships/slideLayout" Target="../slideLayouts/slideLayout45.xml"/><Relationship Id="rId61" Type="http://schemas.openxmlformats.org/officeDocument/2006/relationships/theme" Target="../theme/theme2.xml"/><Relationship Id="rId1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43" Type="http://schemas.openxmlformats.org/officeDocument/2006/relationships/slideLayout" Target="../slideLayouts/slideLayout83.xml"/><Relationship Id="rId48" Type="http://schemas.openxmlformats.org/officeDocument/2006/relationships/slideLayout" Target="../slideLayouts/slideLayout88.xml"/><Relationship Id="rId56" Type="http://schemas.openxmlformats.org/officeDocument/2006/relationships/slideLayout" Target="../slideLayouts/slideLayout96.xml"/><Relationship Id="rId64" Type="http://schemas.openxmlformats.org/officeDocument/2006/relationships/oleObject" Target="../embeddings/oleObject2.bin"/><Relationship Id="rId8" Type="http://schemas.openxmlformats.org/officeDocument/2006/relationships/slideLayout" Target="../slideLayouts/slideLayout48.xml"/><Relationship Id="rId51" Type="http://schemas.openxmlformats.org/officeDocument/2006/relationships/slideLayout" Target="../slideLayouts/slideLayout91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46" Type="http://schemas.openxmlformats.org/officeDocument/2006/relationships/slideLayout" Target="../slideLayouts/slideLayout86.xml"/><Relationship Id="rId59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60.xml"/><Relationship Id="rId41" Type="http://schemas.openxmlformats.org/officeDocument/2006/relationships/slideLayout" Target="../slideLayouts/slideLayout81.xml"/><Relationship Id="rId54" Type="http://schemas.openxmlformats.org/officeDocument/2006/relationships/slideLayout" Target="../slideLayouts/slideLayout94.xml"/><Relationship Id="rId62" Type="http://schemas.openxmlformats.org/officeDocument/2006/relationships/vmlDrawing" Target="../drawings/vmlDrawing2.v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49" Type="http://schemas.openxmlformats.org/officeDocument/2006/relationships/slideLayout" Target="../slideLayouts/slideLayout89.xml"/><Relationship Id="rId57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71.xml"/><Relationship Id="rId44" Type="http://schemas.openxmlformats.org/officeDocument/2006/relationships/slideLayout" Target="../slideLayouts/slideLayout84.xml"/><Relationship Id="rId52" Type="http://schemas.openxmlformats.org/officeDocument/2006/relationships/slideLayout" Target="../slideLayouts/slideLayout92.xml"/><Relationship Id="rId60" Type="http://schemas.openxmlformats.org/officeDocument/2006/relationships/slideLayout" Target="../slideLayouts/slideLayout10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9" Type="http://schemas.openxmlformats.org/officeDocument/2006/relationships/slideLayout" Target="../slideLayouts/slideLayout7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42.xml"/><Relationship Id="rId34" Type="http://schemas.openxmlformats.org/officeDocument/2006/relationships/slideLayout" Target="../slideLayouts/slideLayout155.xml"/><Relationship Id="rId42" Type="http://schemas.openxmlformats.org/officeDocument/2006/relationships/slideLayout" Target="../slideLayouts/slideLayout163.xml"/><Relationship Id="rId47" Type="http://schemas.openxmlformats.org/officeDocument/2006/relationships/slideLayout" Target="../slideLayouts/slideLayout168.xml"/><Relationship Id="rId50" Type="http://schemas.openxmlformats.org/officeDocument/2006/relationships/slideLayout" Target="../slideLayouts/slideLayout171.xml"/><Relationship Id="rId55" Type="http://schemas.openxmlformats.org/officeDocument/2006/relationships/slideLayout" Target="../slideLayouts/slideLayout176.xml"/><Relationship Id="rId63" Type="http://schemas.openxmlformats.org/officeDocument/2006/relationships/tags" Target="../tags/tag4.xml"/><Relationship Id="rId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9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slideLayout" Target="../slideLayouts/slideLayout153.xml"/><Relationship Id="rId37" Type="http://schemas.openxmlformats.org/officeDocument/2006/relationships/slideLayout" Target="../slideLayouts/slideLayout158.xml"/><Relationship Id="rId40" Type="http://schemas.openxmlformats.org/officeDocument/2006/relationships/slideLayout" Target="../slideLayouts/slideLayout161.xml"/><Relationship Id="rId45" Type="http://schemas.openxmlformats.org/officeDocument/2006/relationships/slideLayout" Target="../slideLayouts/slideLayout166.xml"/><Relationship Id="rId53" Type="http://schemas.openxmlformats.org/officeDocument/2006/relationships/slideLayout" Target="../slideLayouts/slideLayout174.xml"/><Relationship Id="rId58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26.xml"/><Relationship Id="rId61" Type="http://schemas.openxmlformats.org/officeDocument/2006/relationships/theme" Target="../theme/theme5.xml"/><Relationship Id="rId1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slideLayout" Target="../slideLayouts/slideLayout151.xml"/><Relationship Id="rId35" Type="http://schemas.openxmlformats.org/officeDocument/2006/relationships/slideLayout" Target="../slideLayouts/slideLayout156.xml"/><Relationship Id="rId43" Type="http://schemas.openxmlformats.org/officeDocument/2006/relationships/slideLayout" Target="../slideLayouts/slideLayout164.xml"/><Relationship Id="rId48" Type="http://schemas.openxmlformats.org/officeDocument/2006/relationships/slideLayout" Target="../slideLayouts/slideLayout169.xml"/><Relationship Id="rId56" Type="http://schemas.openxmlformats.org/officeDocument/2006/relationships/slideLayout" Target="../slideLayouts/slideLayout177.xml"/><Relationship Id="rId64" Type="http://schemas.openxmlformats.org/officeDocument/2006/relationships/oleObject" Target="../embeddings/oleObject3.bin"/><Relationship Id="rId8" Type="http://schemas.openxmlformats.org/officeDocument/2006/relationships/slideLayout" Target="../slideLayouts/slideLayout129.xml"/><Relationship Id="rId51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slideLayout" Target="../slideLayouts/slideLayout154.xml"/><Relationship Id="rId38" Type="http://schemas.openxmlformats.org/officeDocument/2006/relationships/slideLayout" Target="../slideLayouts/slideLayout159.xml"/><Relationship Id="rId46" Type="http://schemas.openxmlformats.org/officeDocument/2006/relationships/slideLayout" Target="../slideLayouts/slideLayout167.xml"/><Relationship Id="rId59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41.xml"/><Relationship Id="rId41" Type="http://schemas.openxmlformats.org/officeDocument/2006/relationships/slideLayout" Target="../slideLayouts/slideLayout162.xml"/><Relationship Id="rId54" Type="http://schemas.openxmlformats.org/officeDocument/2006/relationships/slideLayout" Target="../slideLayouts/slideLayout175.xml"/><Relationship Id="rId62" Type="http://schemas.openxmlformats.org/officeDocument/2006/relationships/vmlDrawing" Target="../drawings/vmlDrawing3.v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36" Type="http://schemas.openxmlformats.org/officeDocument/2006/relationships/slideLayout" Target="../slideLayouts/slideLayout157.xml"/><Relationship Id="rId49" Type="http://schemas.openxmlformats.org/officeDocument/2006/relationships/slideLayout" Target="../slideLayouts/slideLayout170.xml"/><Relationship Id="rId57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31.xml"/><Relationship Id="rId31" Type="http://schemas.openxmlformats.org/officeDocument/2006/relationships/slideLayout" Target="../slideLayouts/slideLayout152.xml"/><Relationship Id="rId44" Type="http://schemas.openxmlformats.org/officeDocument/2006/relationships/slideLayout" Target="../slideLayouts/slideLayout165.xml"/><Relationship Id="rId52" Type="http://schemas.openxmlformats.org/officeDocument/2006/relationships/slideLayout" Target="../slideLayouts/slideLayout173.xml"/><Relationship Id="rId60" Type="http://schemas.openxmlformats.org/officeDocument/2006/relationships/slideLayout" Target="../slideLayouts/slideLayout181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39" Type="http://schemas.openxmlformats.org/officeDocument/2006/relationships/slideLayout" Target="../slideLayouts/slideLayout160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64976939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2" name="Слайд think-cell" r:id="rId44" imgW="347" imgH="348" progId="TCLayout.ActiveDocument.1">
                  <p:embed/>
                </p:oleObj>
              </mc:Choice>
              <mc:Fallback>
                <p:oleObj name="Слайд think-cell" r:id="rId4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1818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32" r:id="rId12"/>
    <p:sldLayoutId id="2147483845" r:id="rId13"/>
    <p:sldLayoutId id="2147483846" r:id="rId14"/>
    <p:sldLayoutId id="2147483847" r:id="rId15"/>
    <p:sldLayoutId id="2147483848" r:id="rId16"/>
    <p:sldLayoutId id="2147483849" r:id="rId17"/>
    <p:sldLayoutId id="2147483850" r:id="rId18"/>
    <p:sldLayoutId id="2147483851" r:id="rId19"/>
    <p:sldLayoutId id="2147483852" r:id="rId20"/>
    <p:sldLayoutId id="2147483853" r:id="rId21"/>
    <p:sldLayoutId id="2147483854" r:id="rId22"/>
    <p:sldLayoutId id="2147483855" r:id="rId23"/>
    <p:sldLayoutId id="2147483856" r:id="rId24"/>
    <p:sldLayoutId id="2147483857" r:id="rId25"/>
    <p:sldLayoutId id="2147483858" r:id="rId26"/>
    <p:sldLayoutId id="2147483859" r:id="rId27"/>
    <p:sldLayoutId id="2147483860" r:id="rId28"/>
    <p:sldLayoutId id="2147483861" r:id="rId29"/>
    <p:sldLayoutId id="2147483862" r:id="rId30"/>
    <p:sldLayoutId id="2147483863" r:id="rId31"/>
    <p:sldLayoutId id="2147483864" r:id="rId32"/>
    <p:sldLayoutId id="2147483865" r:id="rId33"/>
    <p:sldLayoutId id="2147483866" r:id="rId34"/>
    <p:sldLayoutId id="2147483867" r:id="rId35"/>
    <p:sldLayoutId id="2147483868" r:id="rId36"/>
    <p:sldLayoutId id="2147483869" r:id="rId37"/>
    <p:sldLayoutId id="2147483870" r:id="rId38"/>
    <p:sldLayoutId id="2147483871" r:id="rId39"/>
    <p:sldLayoutId id="2147483872" r:id="rId40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4646216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3" name="Слайд think-cell" r:id="rId64" imgW="347" imgH="348" progId="TCLayout.ActiveDocument.1">
                  <p:embed/>
                </p:oleObj>
              </mc:Choice>
              <mc:Fallback>
                <p:oleObj name="Слайд think-cell" r:id="rId6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525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  <p:sldLayoutId id="2147483979" r:id="rId28"/>
    <p:sldLayoutId id="2147483980" r:id="rId29"/>
    <p:sldLayoutId id="2147483981" r:id="rId30"/>
    <p:sldLayoutId id="2147483982" r:id="rId31"/>
    <p:sldLayoutId id="2147483983" r:id="rId32"/>
    <p:sldLayoutId id="2147483984" r:id="rId33"/>
    <p:sldLayoutId id="2147483985" r:id="rId34"/>
    <p:sldLayoutId id="2147483986" r:id="rId35"/>
    <p:sldLayoutId id="2147483987" r:id="rId36"/>
    <p:sldLayoutId id="2147483988" r:id="rId37"/>
    <p:sldLayoutId id="2147483989" r:id="rId38"/>
    <p:sldLayoutId id="2147483990" r:id="rId39"/>
    <p:sldLayoutId id="2147483991" r:id="rId40"/>
    <p:sldLayoutId id="2147483992" r:id="rId41"/>
    <p:sldLayoutId id="2147483993" r:id="rId42"/>
    <p:sldLayoutId id="2147483994" r:id="rId43"/>
    <p:sldLayoutId id="2147483995" r:id="rId44"/>
    <p:sldLayoutId id="2147483996" r:id="rId45"/>
    <p:sldLayoutId id="2147483997" r:id="rId46"/>
    <p:sldLayoutId id="2147483998" r:id="rId47"/>
    <p:sldLayoutId id="2147483999" r:id="rId48"/>
    <p:sldLayoutId id="2147484000" r:id="rId49"/>
    <p:sldLayoutId id="2147484001" r:id="rId50"/>
    <p:sldLayoutId id="2147484002" r:id="rId51"/>
    <p:sldLayoutId id="2147484003" r:id="rId52"/>
    <p:sldLayoutId id="2147484004" r:id="rId53"/>
    <p:sldLayoutId id="2147484005" r:id="rId54"/>
    <p:sldLayoutId id="2147484006" r:id="rId55"/>
    <p:sldLayoutId id="2147484007" r:id="rId56"/>
    <p:sldLayoutId id="2147484008" r:id="rId57"/>
    <p:sldLayoutId id="2147484009" r:id="rId58"/>
    <p:sldLayoutId id="2147484010" r:id="rId59"/>
    <p:sldLayoutId id="2147484011" r:id="rId60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707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591" y="302737"/>
            <a:ext cx="9622632" cy="125994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591" y="1763927"/>
            <a:ext cx="9622632" cy="49890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3"/>
            <a:r>
              <a:rPr lang="ru-RU" dirty="0" smtClean="0"/>
              <a:t>Третий уровень</a:t>
            </a:r>
          </a:p>
          <a:p>
            <a:pPr lvl="4"/>
            <a:r>
              <a:rPr lang="ru-RU" dirty="0" smtClean="0"/>
              <a:t>Четвер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591" y="7006701"/>
            <a:ext cx="2494756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fld id="{46C04923-972A-48A5-9797-2231EA842F5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615"/>
              <a:t>08.08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036" y="7006701"/>
            <a:ext cx="3385741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2466" y="7006701"/>
            <a:ext cx="2494756" cy="402483"/>
          </a:xfrm>
          <a:prstGeom prst="rect">
            <a:avLst/>
          </a:prstGeom>
        </p:spPr>
        <p:txBody>
          <a:bodyPr vert="horz" lIns="104261" tIns="52131" rIns="104261" bIns="52131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042615"/>
            <a:fld id="{F0C3E1D0-B99E-411B-BCE4-D3E6DB7EA49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1042615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165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3" r:id="rId2"/>
    <p:sldLayoutId id="2147484234" r:id="rId3"/>
    <p:sldLayoutId id="2147484235" r:id="rId4"/>
    <p:sldLayoutId id="2147484236" r:id="rId5"/>
    <p:sldLayoutId id="2147484237" r:id="rId6"/>
    <p:sldLayoutId id="2147484238" r:id="rId7"/>
    <p:sldLayoutId id="2147484239" r:id="rId8"/>
    <p:sldLayoutId id="2147484240" r:id="rId9"/>
    <p:sldLayoutId id="2147484241" r:id="rId10"/>
    <p:sldLayoutId id="2147484242" r:id="rId11"/>
    <p:sldLayoutId id="2147484243" r:id="rId12"/>
    <p:sldLayoutId id="2147484244" r:id="rId13"/>
    <p:sldLayoutId id="2147484245" r:id="rId14"/>
    <p:sldLayoutId id="2147484246" r:id="rId15"/>
    <p:sldLayoutId id="2147484247" r:id="rId16"/>
    <p:sldLayoutId id="2147484248" r:id="rId17"/>
    <p:sldLayoutId id="2147484249" r:id="rId18"/>
    <p:sldLayoutId id="2147484250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2615" rtl="0" eaLnBrk="1" latinLnBrk="0" hangingPunct="1">
        <a:spcBef>
          <a:spcPct val="0"/>
        </a:spcBef>
        <a:buNone/>
        <a:defRPr sz="2700" kern="1200">
          <a:solidFill>
            <a:schemeClr val="tx1">
              <a:lumMod val="65000"/>
              <a:lumOff val="35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042615" rtl="0" eaLnBrk="1" latinLnBrk="0" hangingPunct="1">
        <a:spcBef>
          <a:spcPct val="20000"/>
        </a:spcBef>
        <a:buClrTx/>
        <a:buSzPct val="80000"/>
        <a:buFont typeface="Arial" pitchFamily="34" charset="0"/>
        <a:buNone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847126" indent="-325818" algn="l" defTabSz="1042615" rtl="0" eaLnBrk="1" latinLnBrk="0" hangingPunct="1">
        <a:spcBef>
          <a:spcPct val="20000"/>
        </a:spcBef>
        <a:buClrTx/>
        <a:buSzPct val="80000"/>
        <a:buFont typeface="Arial" pitchFamily="34" charset="0"/>
        <a:buChar char="►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1303270" indent="-260653" algn="l" defTabSz="1042615" rtl="0" eaLnBrk="1" latinLnBrk="0" hangingPunct="1">
        <a:spcBef>
          <a:spcPct val="20000"/>
        </a:spcBef>
        <a:buFont typeface="Arial" pitchFamily="34" charset="0"/>
        <a:buChar char="―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824576" indent="-260653" algn="l" defTabSz="1042615" rtl="0" eaLnBrk="1" latinLnBrk="0" hangingPunct="1">
        <a:spcBef>
          <a:spcPct val="20000"/>
        </a:spcBef>
        <a:buFont typeface="Arial" pitchFamily="34" charset="0"/>
        <a:buChar char="&gt;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2345885" indent="-260653" algn="l" defTabSz="1042615" rtl="0" eaLnBrk="1" latinLnBrk="0" hangingPunct="1">
        <a:spcBef>
          <a:spcPct val="20000"/>
        </a:spcBef>
        <a:buFont typeface="Wingdings" pitchFamily="2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2867192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500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9807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115" indent="-260653" algn="l" defTabSz="1042615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09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615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923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231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537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846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154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462" algn="l" defTabSz="10426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32949577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9" name="Слайд think-cell" r:id="rId64" imgW="347" imgH="348" progId="TCLayout.ActiveDocument.1">
                  <p:embed/>
                </p:oleObj>
              </mc:Choice>
              <mc:Fallback>
                <p:oleObj name="Слайд think-cell" r:id="rId6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3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3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4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842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63" r:id="rId12"/>
    <p:sldLayoutId id="2147484264" r:id="rId13"/>
    <p:sldLayoutId id="2147484265" r:id="rId14"/>
    <p:sldLayoutId id="2147484266" r:id="rId15"/>
    <p:sldLayoutId id="2147484267" r:id="rId16"/>
    <p:sldLayoutId id="2147484268" r:id="rId17"/>
    <p:sldLayoutId id="2147484269" r:id="rId18"/>
    <p:sldLayoutId id="2147484270" r:id="rId19"/>
    <p:sldLayoutId id="2147484271" r:id="rId20"/>
    <p:sldLayoutId id="2147484272" r:id="rId21"/>
    <p:sldLayoutId id="2147484273" r:id="rId22"/>
    <p:sldLayoutId id="2147484274" r:id="rId23"/>
    <p:sldLayoutId id="2147484275" r:id="rId24"/>
    <p:sldLayoutId id="2147484276" r:id="rId25"/>
    <p:sldLayoutId id="2147484277" r:id="rId26"/>
    <p:sldLayoutId id="2147484278" r:id="rId27"/>
    <p:sldLayoutId id="2147484279" r:id="rId28"/>
    <p:sldLayoutId id="2147484280" r:id="rId29"/>
    <p:sldLayoutId id="2147484281" r:id="rId30"/>
    <p:sldLayoutId id="2147484282" r:id="rId31"/>
    <p:sldLayoutId id="2147484283" r:id="rId32"/>
    <p:sldLayoutId id="2147484284" r:id="rId33"/>
    <p:sldLayoutId id="2147484285" r:id="rId34"/>
    <p:sldLayoutId id="2147484286" r:id="rId35"/>
    <p:sldLayoutId id="2147484287" r:id="rId36"/>
    <p:sldLayoutId id="2147484288" r:id="rId37"/>
    <p:sldLayoutId id="2147484289" r:id="rId38"/>
    <p:sldLayoutId id="2147484290" r:id="rId39"/>
    <p:sldLayoutId id="2147484291" r:id="rId40"/>
    <p:sldLayoutId id="2147484292" r:id="rId41"/>
    <p:sldLayoutId id="2147484293" r:id="rId42"/>
    <p:sldLayoutId id="2147484294" r:id="rId43"/>
    <p:sldLayoutId id="2147484295" r:id="rId44"/>
    <p:sldLayoutId id="2147484296" r:id="rId45"/>
    <p:sldLayoutId id="2147484297" r:id="rId46"/>
    <p:sldLayoutId id="2147484298" r:id="rId47"/>
    <p:sldLayoutId id="2147484299" r:id="rId48"/>
    <p:sldLayoutId id="2147484300" r:id="rId49"/>
    <p:sldLayoutId id="2147484301" r:id="rId50"/>
    <p:sldLayoutId id="2147484302" r:id="rId51"/>
    <p:sldLayoutId id="2147484303" r:id="rId52"/>
    <p:sldLayoutId id="2147484304" r:id="rId53"/>
    <p:sldLayoutId id="2147484305" r:id="rId54"/>
    <p:sldLayoutId id="2147484306" r:id="rId55"/>
    <p:sldLayoutId id="2147484307" r:id="rId56"/>
    <p:sldLayoutId id="2147484308" r:id="rId57"/>
    <p:sldLayoutId id="2147484309" r:id="rId58"/>
    <p:sldLayoutId id="2147484310" r:id="rId59"/>
    <p:sldLayoutId id="2147484311" r:id="rId60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79184" y="1043564"/>
            <a:ext cx="8026487" cy="1377723"/>
          </a:xfrm>
          <a:prstGeom prst="rect">
            <a:avLst/>
          </a:prstGeom>
          <a:effectLst/>
        </p:spPr>
        <p:txBody>
          <a:bodyPr vert="horz" lIns="0" tIns="192024" rIns="0" bIns="0" rtlCol="0" anchor="t" anchorCtr="0">
            <a:noAutofit/>
          </a:bodyPr>
          <a:lstStyle/>
          <a:p>
            <a:r>
              <a:rPr lang="en-US" dirty="0"/>
              <a:t>Your title here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79184" y="2771881"/>
            <a:ext cx="8026487" cy="37798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1"/>
            <a:r>
              <a:rPr lang="en-US" dirty="0"/>
              <a:t>Write here subtitle</a:t>
            </a:r>
          </a:p>
          <a:p>
            <a:pPr lvl="2"/>
            <a:r>
              <a:rPr lang="en-US" dirty="0"/>
              <a:t>Write here text</a:t>
            </a:r>
          </a:p>
          <a:p>
            <a:pPr lvl="3"/>
            <a:r>
              <a:rPr lang="en-US" dirty="0"/>
              <a:t>Write here text</a:t>
            </a:r>
          </a:p>
          <a:p>
            <a:pPr lvl="4"/>
            <a:r>
              <a:rPr lang="en-US" dirty="0"/>
              <a:t>Write here text 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10082046" y="6935181"/>
            <a:ext cx="609767" cy="62449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30">
              <a:defRPr/>
            </a:pPr>
            <a:endParaRPr lang="en-US" dirty="0">
              <a:solidFill>
                <a:srgbClr val="F0F0F0"/>
              </a:solidFill>
            </a:endParaRPr>
          </a:p>
        </p:txBody>
      </p:sp>
      <p:sp>
        <p:nvSpPr>
          <p:cNvPr id="26" name="Slide Number Placeholder 24"/>
          <p:cNvSpPr txBox="1">
            <a:spLocks/>
          </p:cNvSpPr>
          <p:nvPr userDrawn="1"/>
        </p:nvSpPr>
        <p:spPr>
          <a:xfrm>
            <a:off x="10082045" y="7028611"/>
            <a:ext cx="60976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36C48702-E445-134E-B960-6F692773524F}" type="slidenum">
              <a:rPr lang="en-US" sz="800" b="1" smtClean="0">
                <a:solidFill>
                  <a:srgbClr val="F0F0F0">
                    <a:lumMod val="50000"/>
                  </a:srgbClr>
                </a:solidFill>
                <a:ea typeface="Open Sans SemiBold" charset="0"/>
                <a:cs typeface="Golos UI Medium" panose="020B0604020202020204" pitchFamily="34" charset="-52"/>
              </a:rPr>
              <a:pPr algn="ctr">
                <a:defRPr/>
              </a:pPr>
              <a:t>‹#›</a:t>
            </a:fld>
            <a:endParaRPr lang="en-US" sz="800" b="1" dirty="0">
              <a:solidFill>
                <a:srgbClr val="F0F0F0">
                  <a:lumMod val="50000"/>
                </a:srgbClr>
              </a:solidFill>
              <a:ea typeface="Open Sans SemiBold" charset="0"/>
              <a:cs typeface="Golos UI Medium" panose="020B0604020202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967935174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18" rtl="0" eaLnBrk="1" latinLnBrk="0" hangingPunct="1">
        <a:lnSpc>
          <a:spcPct val="80000"/>
        </a:lnSpc>
        <a:spcBef>
          <a:spcPct val="0"/>
        </a:spcBef>
        <a:buNone/>
        <a:defRPr sz="3600" b="1" i="0" kern="1200" spc="-151" baseline="0">
          <a:solidFill>
            <a:schemeClr val="tx1"/>
          </a:solidFill>
          <a:latin typeface="+mj-lt"/>
          <a:ea typeface="Montserrat SemiBold" charset="0"/>
          <a:cs typeface="Montserrat SemiBold" charset="0"/>
        </a:defRPr>
      </a:lvl1pPr>
    </p:titleStyle>
    <p:bodyStyle>
      <a:lvl1pPr marL="0" indent="0" algn="l" defTabSz="914318" rtl="0" eaLnBrk="1" latinLnBrk="0" hangingPunct="1">
        <a:lnSpc>
          <a:spcPct val="15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>
          <a:solidFill>
            <a:schemeClr val="tx1">
              <a:alpha val="70000"/>
            </a:schemeClr>
          </a:solidFill>
          <a:latin typeface="+mn-lt"/>
          <a:ea typeface="+mn-ea"/>
          <a:cs typeface="+mn-cs"/>
        </a:defRPr>
      </a:lvl4pPr>
      <a:lvl5pPr marL="0" indent="0" algn="l" defTabSz="914318" rtl="0" eaLnBrk="1" latinLnBrk="0" hangingPunct="1">
        <a:lnSpc>
          <a:spcPct val="150000"/>
        </a:lnSpc>
        <a:spcBef>
          <a:spcPts val="499"/>
        </a:spcBef>
        <a:buFont typeface="Arial" panose="020B0604020202020204" pitchFamily="34" charset="0"/>
        <a:buNone/>
        <a:defRPr sz="1000" kern="1200" baseline="0">
          <a:solidFill>
            <a:schemeClr val="tx1">
              <a:alpha val="50000"/>
            </a:schemeClr>
          </a:solidFill>
          <a:latin typeface="+mn-lt"/>
          <a:ea typeface="+mn-ea"/>
          <a:cs typeface="+mn-cs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14" orient="horz" pos="346">
          <p15:clr>
            <a:srgbClr val="F26B43"/>
          </p15:clr>
        </p15:guide>
        <p15:guide id="27" orient="horz" pos="3952">
          <p15:clr>
            <a:srgbClr val="F26B43"/>
          </p15:clr>
        </p15:guide>
        <p15:guide id="28" pos="642">
          <p15:clr>
            <a:srgbClr val="F26B43"/>
          </p15:clr>
        </p15:guide>
        <p15:guide id="29" pos="7038">
          <p15:clr>
            <a:srgbClr val="F26B43"/>
          </p15:clr>
        </p15:guide>
        <p15:guide id="44">
          <p15:clr>
            <a:srgbClr val="F26B43"/>
          </p15:clr>
        </p15:guide>
        <p15:guide id="45" pos="7680">
          <p15:clr>
            <a:srgbClr val="F26B43"/>
          </p15:clr>
        </p15:guide>
        <p15:guide id="46" orient="horz">
          <p15:clr>
            <a:srgbClr val="F26B43"/>
          </p15:clr>
        </p15:guide>
        <p15:guide id="47" orient="horz" pos="4320">
          <p15:clr>
            <a:srgbClr val="F26B43"/>
          </p15:clr>
        </p15:guide>
        <p15:guide id="48" pos="1277">
          <p15:clr>
            <a:srgbClr val="F26B43"/>
          </p15:clr>
        </p15:guide>
        <p15:guide id="51" orient="horz" pos="709">
          <p15:clr>
            <a:srgbClr val="F26B43"/>
          </p15:clr>
        </p15:guide>
        <p15:guide id="52" pos="1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02.xml"/><Relationship Id="rId4" Type="http://schemas.openxmlformats.org/officeDocument/2006/relationships/hyperlink" Target="mailto:msbsupport@mspbank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Инструменты финансовой поддержки поставщиков – субъектов МСП </a:t>
            </a:r>
            <a:br>
              <a:rPr lang="ru-RU" dirty="0"/>
            </a:br>
            <a:r>
              <a:rPr lang="ru-RU" dirty="0"/>
              <a:t>АО «МСП Банк»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8197057" y="7034701"/>
            <a:ext cx="2494756" cy="402483"/>
          </a:xfrm>
        </p:spPr>
        <p:txBody>
          <a:bodyPr/>
          <a:lstStyle/>
          <a:p>
            <a:fld id="{F0C3E1D0-B99E-411B-BCE4-D3E6DB7EA49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581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базовых кредитных продукт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3586" y="1486119"/>
            <a:ext cx="527122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текущей деятельности (включая выплату заработной платы и прочие платежи, за исключением уплаты налогов и сборов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участия в тендере (конкурсе)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66874" y="983462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оротное кредитование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59668" y="1211585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59668" y="2945727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59669" y="3255717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272306" y="1457184"/>
            <a:ext cx="5264028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инвестиций</a:t>
            </a:r>
          </a:p>
          <a:p>
            <a:pPr marL="361950" indent="-180975">
              <a:spcAft>
                <a:spcPts val="300"/>
              </a:spcAft>
              <a:buClr>
                <a:srgbClr val="F93458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приобретения, реконструкции, модернизации, ремонта основных средств</a:t>
            </a:r>
          </a:p>
          <a:p>
            <a:pPr marL="361950" indent="-180975">
              <a:spcAft>
                <a:spcPts val="300"/>
              </a:spcAft>
              <a:buClr>
                <a:srgbClr val="F93458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строительства зданий и сооружений производственного назначения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453282" y="983462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иционное кредитование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066801" y="2548002"/>
            <a:ext cx="4279106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pPr lvl="0"/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0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рд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111976" y="2873618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111976" y="3194161"/>
            <a:ext cx="236455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452909" y="2707491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480244" y="3022582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480245" y="3332572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219993" y="2611919"/>
            <a:ext cx="401511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рд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232552" y="2950473"/>
            <a:ext cx="185246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2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244513" y="3289027"/>
            <a:ext cx="4331116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>
            <a:off x="1" y="3806684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/>
        </p:nvSpPr>
        <p:spPr>
          <a:xfrm>
            <a:off x="144843" y="4547659"/>
            <a:ext cx="49510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х средств на цели финансирование расходов, связанных с исполнением контракта в рамках федеральных законов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№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23-ФЗ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№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44-ФЗ,№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85-ФЗ (ППРФ №615)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97243" y="3905137"/>
            <a:ext cx="48337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актное кредитование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314495" y="5847618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59668" y="6196726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359669" y="6506717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111976" y="6124617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1111978" y="6445160"/>
            <a:ext cx="2364554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5453282" y="1209120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297243" y="2609557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314493" y="427372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973350" y="6978050"/>
            <a:ext cx="18694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en-US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ри наличии субсидирования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272306" y="4547659"/>
            <a:ext cx="52640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финансирование кредитов  (займов), выданных другими кредитными организациями на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и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цели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5453282" y="3905137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финансирование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452909" y="5330483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5452909" y="5882022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452910" y="6377700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6219993" y="5728133"/>
            <a:ext cx="4331118" cy="58477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оборотные цели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  <a:p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инвестиционные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84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5467684" y="427372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232552" y="6346923"/>
            <a:ext cx="241882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,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*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66874" y="5287903"/>
            <a:ext cx="14205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орма кредит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587075" y="5191984"/>
            <a:ext cx="3802777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ная линия с лимитом выдач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ная линия с лимитом задолженност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21560" y="6856478"/>
            <a:ext cx="5050745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259715" algn="l"/>
              </a:tabLs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и отсутствии возможности оформления в залог права требования по контракту/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ам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:</a:t>
            </a: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змер и вид обеспечения устанавливается решением УОБ.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080766" y="5786061"/>
            <a:ext cx="401511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рд рублей 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6232552" y="5299705"/>
            <a:ext cx="401511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рд рублей </a:t>
            </a:r>
          </a:p>
        </p:txBody>
      </p:sp>
    </p:spTree>
    <p:extLst>
      <p:ext uri="{BB962C8B-B14F-4D97-AF65-F5344CB8AC3E}">
        <p14:creationId xmlns:p14="http://schemas.microsoft.com/office/powerpoint/2010/main" val="676963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9182100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Гарантийная поддержка</a:t>
            </a:r>
          </a:p>
          <a:p>
            <a:pPr fontAlgn="auto">
              <a:spcAft>
                <a:spcPts val="0"/>
              </a:spcAft>
            </a:pP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гарантии в рамках федеральных законов №44-ФЗ </a:t>
            </a:r>
            <a:r>
              <a:rPr lang="ru-RU" sz="20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№223-ФЗ №</a:t>
            </a: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185-ФЗ  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6433829" y="1678702"/>
            <a:ext cx="412177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Сокращенные сроки рассмотрения </a:t>
            </a:r>
            <a:r>
              <a:rPr lang="ru-RU" sz="1200" b="1" dirty="0" smtClean="0">
                <a:latin typeface="Century Gothic" panose="020B0502020202020204" pitchFamily="34" charset="0"/>
              </a:rPr>
              <a:t>заявок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Автоматизированная система  выдачи электронных банковских гарантий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Оформление через интернет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До 30 млн рублей — без обеспечения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Открытие расчетного счета </a:t>
            </a:r>
            <a:br>
              <a:rPr lang="ru-RU" sz="1200" b="1" dirty="0">
                <a:latin typeface="Century Gothic" panose="020B0502020202020204" pitchFamily="34" charset="0"/>
              </a:rPr>
            </a:br>
            <a:r>
              <a:rPr lang="ru-RU" sz="1200" b="1" dirty="0">
                <a:latin typeface="Century Gothic" panose="020B0502020202020204" pitchFamily="34" charset="0"/>
              </a:rPr>
              <a:t>не требуется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latin typeface="Century Gothic" panose="020B0502020202020204" pitchFamily="34" charset="0"/>
              </a:rPr>
              <a:t>Предварительное решение </a:t>
            </a:r>
            <a:br>
              <a:rPr lang="ru-RU" sz="1200" b="1" dirty="0">
                <a:latin typeface="Century Gothic" panose="020B0502020202020204" pitchFamily="34" charset="0"/>
              </a:rPr>
            </a:br>
            <a:r>
              <a:rPr lang="ru-RU" sz="1200" b="1" dirty="0">
                <a:latin typeface="Century Gothic" panose="020B0502020202020204" pitchFamily="34" charset="0"/>
              </a:rPr>
              <a:t>по 2 документам</a:t>
            </a:r>
          </a:p>
          <a:p>
            <a:pPr marL="171450" indent="-171450">
              <a:buClr>
                <a:srgbClr val="F93458"/>
              </a:buClr>
              <a:buFont typeface="Wingdings" panose="05000000000000000000" pitchFamily="2" charset="2"/>
              <a:buChar char="ü"/>
            </a:pPr>
            <a:endParaRPr lang="ru-RU" sz="1200" b="1" dirty="0">
              <a:latin typeface="Century Gothic" panose="020B0502020202020204" pitchFamily="34" charset="0"/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6460024" y="1253594"/>
            <a:ext cx="40955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имущества:</a:t>
            </a:r>
            <a:r>
              <a:rPr lang="ru-RU" b="1" dirty="0">
                <a:solidFill>
                  <a:srgbClr val="F9345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361642" y="1449270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1771482" y="1387715"/>
            <a:ext cx="2647949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</a:t>
            </a:r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млрд 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325022" y="2140367"/>
            <a:ext cx="1431090" cy="46166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ассмотрения 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771482" y="1932949"/>
            <a:ext cx="4688542" cy="984885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pPr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latin typeface="Century Gothic" panose="020B0502020202020204" pitchFamily="34" charset="0"/>
                <a:cs typeface="Helvetica" panose="020B0604020202020204" pitchFamily="34" charset="0"/>
              </a:rPr>
              <a:t>гарантия до 5 млн рублей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  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24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часов</a:t>
            </a:r>
          </a:p>
          <a:p>
            <a:pPr lvl="0"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арантия от </a:t>
            </a:r>
            <a:r>
              <a:rPr lang="en-US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 до 100 млн рублей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рабочих дней</a:t>
            </a:r>
          </a:p>
          <a:p>
            <a:pPr defTabSz="1150702">
              <a:spcAft>
                <a:spcPts val="600"/>
              </a:spcAft>
              <a:buClr>
                <a:srgbClr val="ED1B34"/>
              </a:buClr>
            </a:pP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100 млн до </a:t>
            </a:r>
            <a:r>
              <a:rPr lang="en-US" sz="1200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</a:t>
            </a:r>
            <a:r>
              <a:rPr lang="ru-RU" sz="1200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</a:t>
            </a:r>
            <a:r>
              <a:rPr lang="ru-RU" sz="1200" u="sng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u="sng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лей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b="1" dirty="0">
                <a:latin typeface="Century Gothic" panose="020B0502020202020204" pitchFamily="34" charset="0"/>
                <a:cs typeface="Helvetica" panose="020B0604020202020204" pitchFamily="34" charset="0"/>
              </a:rPr>
              <a:t> рабочих дней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325022" y="3636174"/>
            <a:ext cx="105710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оимость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4280" y="142212"/>
            <a:ext cx="1658535" cy="356807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647030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  <a:ea typeface="+mj-ea"/>
                <a:cs typeface="+mj-cs"/>
              </a:rPr>
              <a:t>гарантии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001845"/>
              </p:ext>
            </p:extLst>
          </p:nvPr>
        </p:nvGraphicFramePr>
        <p:xfrm>
          <a:off x="325022" y="4010229"/>
          <a:ext cx="9972983" cy="23996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649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75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65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038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578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Сумма гарантии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Для гарантий в рамках 223 - ФЗ и 44 -ФЗ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Для гарантий в рамках №185-ФЗ (ПП РФ №615)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Для гарантий в рамках договоров с Заказчиками с государственным участием 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90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до 5 млн. рублей включительно для Самозанятых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2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-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2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90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effectLst/>
                        </a:rPr>
                        <a:t>до 10 млн. рублей включительн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2,7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2,7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от 3,5% годовых,</a:t>
                      </a:r>
                      <a:br>
                        <a:rPr lang="ru-RU" sz="1100" u="none" strike="noStrike">
                          <a:effectLst/>
                        </a:rPr>
                      </a:br>
                      <a:r>
                        <a:rPr lang="ru-RU" sz="1100" u="none" strike="noStrike">
                          <a:effectLst/>
                        </a:rPr>
                        <a:t> но не менее 999 рубле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4381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более 10 млн. рублей до 50 млн. рублей включительно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от 2,7% годовых, но не менее 999 рублей</a:t>
                      </a:r>
                      <a:br>
                        <a:rPr lang="ru-RU" sz="1100" u="none" strike="noStrike" dirty="0">
                          <a:effectLst/>
                        </a:rPr>
                      </a:b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от 2,7% годовых, но не менее 999 рублей</a:t>
                      </a:r>
                      <a:br>
                        <a:rPr lang="ru-RU" sz="1100" u="none" strike="noStrike" dirty="0">
                          <a:effectLst/>
                        </a:rPr>
                      </a:b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от 3,5% годовых, но не менее 999 рублей</a:t>
                      </a:r>
                      <a:br>
                        <a:rPr lang="ru-RU" sz="1100" u="none" strike="noStrike" dirty="0">
                          <a:effectLst/>
                        </a:rPr>
                      </a:b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419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более 50 млн. рубле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49" marR="8549" marT="854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3% годовых</a:t>
                      </a:r>
                      <a:b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3% годовых</a:t>
                      </a:r>
                      <a:b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49" marR="8549" marT="854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3,5% годовых</a:t>
                      </a:r>
                      <a:br>
                        <a:rPr lang="ru-RU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49" marR="8549" marT="8549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7969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базовых кредитных продуктов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79101" y="1073085"/>
            <a:ext cx="48337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ресс-поддержка (экспресс-оборотный, экспресс-</a:t>
            </a:r>
            <a:r>
              <a:rPr lang="ru-RU" sz="1400" b="1" dirty="0" err="1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08834" y="3093776"/>
            <a:ext cx="6245594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– юридическое лицо (распространяется только на юридические лица с организационно правовой формой – ООО (за исключением ООО, участником/учредителем которого с долей участия 25% и более в уставном капитале Субъекта МСП является юридическое лицо, одновременно являющееся акционерным обществом)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ход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текущей деятельности заемщика покрывает расходы на обслуживание и погашение кредита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 Заемщика на дату подачи заявки не менее 12 месяцев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95911" y="1507544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44191" y="5409194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44191" y="5723152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975574" y="4699022"/>
            <a:ext cx="5378853" cy="646331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юридических лиц с рейтингом ААА:  от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 тыс. до 30 млн. рублей </a:t>
            </a:r>
            <a:r>
              <a:rPr lang="en-US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ительно</a:t>
            </a:r>
            <a:r>
              <a:rPr lang="en-US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иных заемщиков: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50 тыс. до 10 млн. рублей </a:t>
            </a:r>
            <a:r>
              <a:rPr lang="en-US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ительно</a:t>
            </a:r>
            <a:r>
              <a:rPr lang="en-US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33071" y="5347639"/>
            <a:ext cx="149525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033072" y="5668183"/>
            <a:ext cx="342915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</a:t>
            </a:r>
            <a:r>
              <a:rPr lang="ru-RU" sz="16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0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,2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**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244190" y="4883687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79101" y="2094765"/>
            <a:ext cx="496216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полнени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ных средст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финансирование инвестиций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53119" y="5979766"/>
            <a:ext cx="6566755" cy="1600349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АО «Корпорация» «МСП»  в размере 50% от суммы кредита для Заемщиков 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гашени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а – ежемесячные аннуитетные платежи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ЮЛ – обязательно.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ЮЛ – не требуется при одновременном соблюдени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ледующих условий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еднесписочная </a:t>
            </a: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численность работников заемщика не менее 5 человек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емщиком оплачено налогов не менее 1 млн рублей за предыдущий </a:t>
            </a:r>
            <a:r>
              <a:rPr lang="ru-RU" sz="8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8833" y="2836704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95911" y="1786988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*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6205148" y="1786988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167549" y="2259519"/>
            <a:ext cx="49621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развитие предпринимательской деятельност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402444" y="1136986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ная поддержка самозанятых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411762" y="2685162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11762" y="2962161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430646" y="322366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210188" y="2623606"/>
            <a:ext cx="38671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.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лн рублей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210190" y="2899441"/>
            <a:ext cx="40292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месяце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включительно)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182955" y="3192886"/>
            <a:ext cx="386714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от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</a:t>
            </a:r>
            <a:r>
              <a:rPr lang="en-US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,0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0**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годовых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30646" y="1445206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512174" y="3596982"/>
            <a:ext cx="4399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финансирование кредитов самозанятых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464158" y="3883060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188062" y="4203880"/>
            <a:ext cx="43102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финансирование кредитов самозанятых, направленных на развитие предпринимательской деятельности, на сумму не более суммы рефинансируемого кредита/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в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займа/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в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 по данным БКИ.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493222" y="5362768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493221" y="5707335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93223" y="613405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7245529" y="5301212"/>
            <a:ext cx="38671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тыс.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1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млн рублей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245530" y="5692375"/>
            <a:ext cx="4029250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до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36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месяце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(включительно)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245531" y="6103276"/>
            <a:ext cx="3867148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от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11</a:t>
            </a:r>
            <a:r>
              <a:rPr lang="en-US" sz="1600" b="1" smtClean="0">
                <a:latin typeface="Century Gothic" panose="020B0502020202020204" pitchFamily="34" charset="0"/>
                <a:cs typeface="Helvetica" panose="020B0604020202020204" pitchFamily="34" charset="0"/>
              </a:rPr>
              <a:t>,0</a:t>
            </a:r>
            <a:r>
              <a:rPr lang="ru-RU" sz="1600" b="1" smtClean="0">
                <a:latin typeface="Century Gothic" panose="020B0502020202020204" pitchFamily="34" charset="0"/>
                <a:cs typeface="Helvetica" panose="020B0604020202020204" pitchFamily="34" charset="0"/>
              </a:rPr>
              <a:t>0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**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%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ea typeface="Segoe UI" pitchFamily="34" charset="0"/>
                <a:cs typeface="Segoe UI" pitchFamily="34" charset="0"/>
              </a:rPr>
              <a:t>годовых 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5922100" y="7343794"/>
            <a:ext cx="166584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 В зависимости от продукта</a:t>
            </a:r>
            <a:endParaRPr lang="ru-RU" sz="8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457881" y="1816762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7618979" y="7341469"/>
            <a:ext cx="186942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en-US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*</a:t>
            </a: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ри наличии субсидирования </a:t>
            </a:r>
          </a:p>
        </p:txBody>
      </p:sp>
    </p:spTree>
    <p:extLst>
      <p:ext uri="{BB962C8B-B14F-4D97-AF65-F5344CB8AC3E}">
        <p14:creationId xmlns:p14="http://schemas.microsoft.com/office/powerpoint/2010/main" val="272948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1" y="237436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Кредитная поддержка субъектов 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</a:t>
            </a:r>
            <a:r>
              <a:rPr lang="ru-RU" sz="20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продуктов прямого кредитования</a:t>
            </a:r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204645" y="1149678"/>
            <a:ext cx="53435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ресс кредит на исполнение контракта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788064" y="3353870"/>
            <a:ext cx="4813261" cy="4085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бъект МСП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–юридическо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лицо (распространяется только на юридические лица с организационно правовой формой – ООО (за исключением ООО, участником/учредителем которого с долей участия 25% и более в уставном капитале Субъекта МСП является юридическое лицо, одновременно являющееся акционерным обществом);</a:t>
            </a:r>
          </a:p>
          <a:p>
            <a:pPr marL="171450" lvl="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 Заемщика на дату подачи заявки – не менее 12 месяцев;</a:t>
            </a:r>
          </a:p>
          <a:p>
            <a:pPr marL="171450" lvl="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пыт исполнения (соисполнения – для субподрядчиков) субъектом МСП (в качестве исполнителя или субподрядчика) контрактов (договоров, соглашений) –  Не менее двух полностью исполненных контрактов за весь период деятельности Субъекта МСП. В подтверждение опыта исполнения контрактов учитывается опыт исполнения контрактов в рамках 44-ФЗ и/или 223-ФЗ (в том числе субподрядные договоры) и/или 185-ФЗ (ППРФ №615).</a:t>
            </a:r>
          </a:p>
          <a:p>
            <a:pPr marL="171450" marR="86360" lvl="0" indent="-171450" fontAlgn="t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tabLst>
                <a:tab pos="297180" algn="l"/>
              </a:tabLs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личие заключенного контракта или документального подтверждения победы Субъекта МСП в конкурсе на выполнение контракта; 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277907" y="1529320"/>
            <a:ext cx="2247566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F93458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ры поддержки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788065" y="1828902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788064" y="2406086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597523" y="1813512"/>
            <a:ext cx="1705223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6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сяцев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730915" y="1328947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77907" y="2100039"/>
            <a:ext cx="514181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ополнение оборотных средств на цели финансирования расходов, связанных с исполнением Заемщиком контракта/контрактов но не более 70% от суммы контракта, указанной на сайте zakupki.gov.ru (либо в СПАРК, Контур Фокус, на электронной площадке для торгов, где осуществляются закупочные процедуры, либо в копии контракта, предоставленного Заемщиком, либо в письме заказчика с указанием параметров планируемого к заключению контракта), предусмотренного контрактом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862171" y="3062495"/>
            <a:ext cx="4395651" cy="264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7908" y="1798124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: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5647465" y="1569811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6597523" y="2272628"/>
            <a:ext cx="4156048" cy="646331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лючевая ставка ЦБ РФ + 9% годовых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Ставка при открытии расчетного счета в Банке и переводе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оротов ключева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 ЦБ РФ + 8% годовых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17740" y="4324763"/>
            <a:ext cx="4682494" cy="2800678"/>
          </a:xfrm>
          <a:prstGeom prst="rect">
            <a:avLst/>
          </a:prstGeom>
        </p:spPr>
        <p:txBody>
          <a:bodyPr wrap="square" lIns="91349" tIns="45676" rIns="91349" bIns="45676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 паспорту</a:t>
            </a:r>
            <a:endParaRPr lang="en-US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ез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лога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озможность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срочного погашения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а без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миссии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инятие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шения за 72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часа</a:t>
            </a: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еспечение:</a:t>
            </a:r>
          </a:p>
          <a:p>
            <a:pPr marL="171450" lvl="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  <a:defRPr/>
            </a:pP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ручительство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ЮЛ – не требуется при одновременном соблюдении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ледующих условий: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еднесписочная численность работников заемщика не менее 5 человек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емщиком оплачено налогов не менее 1 млн рублей за предыдущий год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есплатное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онтичное поручительство КМСП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азмере 50% от суммы </a:t>
            </a:r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а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77908" y="3907745"/>
            <a:ext cx="170912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имущества: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654672" y="1322110"/>
            <a:ext cx="37732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500 </a:t>
            </a:r>
            <a:r>
              <a:rPr lang="ru-RU" sz="12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ыс. до 10 млн. рублей 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(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ительно</a:t>
            </a:r>
            <a:r>
              <a:rPr lang="en-US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0841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075FBAD6-E7D4-1F45-9036-582922DF1B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2" t="10484" r="10805" b="9247"/>
          <a:stretch/>
        </p:blipFill>
        <p:spPr bwMode="auto">
          <a:xfrm>
            <a:off x="9800204" y="6739431"/>
            <a:ext cx="698148" cy="6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0" y="237437"/>
            <a:ext cx="8334375" cy="5231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Льготное кредитование </a:t>
            </a:r>
            <a:r>
              <a:rPr lang="ru-RU" sz="28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субъектов </a:t>
            </a:r>
            <a: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МСП </a:t>
            </a:r>
            <a:br>
              <a:rPr lang="ru-RU" sz="2800" b="1" dirty="0">
                <a:solidFill>
                  <a:srgbClr val="0225A3"/>
                </a:solidFill>
                <a:latin typeface="Century Gothic" panose="020B0502020202020204" pitchFamily="34" charset="0"/>
              </a:rPr>
            </a:br>
            <a:r>
              <a:rPr lang="ru-RU" sz="2000" dirty="0">
                <a:solidFill>
                  <a:srgbClr val="0225A3"/>
                </a:solidFill>
                <a:latin typeface="Century Gothic" panose="020B0502020202020204" pitchFamily="34" charset="0"/>
              </a:rPr>
              <a:t>в рамках </a:t>
            </a:r>
            <a:r>
              <a:rPr lang="ru-RU" sz="20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совместной программы </a:t>
            </a:r>
            <a:r>
              <a:rPr lang="en-US" sz="24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1764 </a:t>
            </a:r>
            <a:r>
              <a:rPr lang="ru-RU" sz="2400" b="1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и ПСК</a:t>
            </a:r>
            <a:endParaRPr lang="ru-RU" sz="2400" b="1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0840" y="320617"/>
            <a:ext cx="1658535" cy="356807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059997" y="6751384"/>
            <a:ext cx="1743550" cy="6687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ctr" defTabSz="457200" eaLnBrk="1" latinLnBrk="0" hangingPunct="1">
              <a:defRPr sz="1662">
                <a:solidFill>
                  <a:schemeClr val="lt1"/>
                </a:solidFill>
                <a:latin typeface="+mn-lt"/>
                <a:cs typeface="+mn-cs"/>
              </a:defRPr>
            </a:lvl1pPr>
            <a:lvl2pPr marL="4572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2pPr>
            <a:lvl3pPr marL="9144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3pPr>
            <a:lvl4pPr marL="13716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4pPr>
            <a:lvl5pPr marL="1828800" defTabSz="457200" eaLnBrk="1" latinLnBrk="0" hangingPunct="1">
              <a:defRPr sz="1800">
                <a:solidFill>
                  <a:schemeClr val="lt1"/>
                </a:solidFill>
                <a:latin typeface="+mn-lt"/>
                <a:cs typeface="+mn-cs"/>
              </a:defRPr>
            </a:lvl5pPr>
            <a:lvl6pPr marL="22860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6pPr>
            <a:lvl7pPr marL="27432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7pPr>
            <a:lvl8pPr marL="32004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8pPr>
            <a:lvl9pPr marL="3657600" defTabSz="457200">
              <a:defRPr sz="1800"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1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imes New Roman" panose="02020603050405020304" pitchFamily="18" charset="0"/>
              </a:rPr>
              <a:t>более подробная информация доступна по ссылке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77313" y="4047227"/>
            <a:ext cx="4894094" cy="23160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ключе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 единый реестр субъектов малого и среднего предпринимательства</a:t>
            </a:r>
            <a:endParaRPr lang="ru-RU" sz="1200" dirty="0" smtClean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 регистраци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ату подачи заявки не менее 12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есяцев (не распространяется на </a:t>
            </a:r>
            <a:r>
              <a:rPr lang="en-US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SPV)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осуществляет подакцизную деятельность и добычу/реализацию полезных ископаемых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 относитс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 приоритетным в рамках 1764 и ПСК (приложение №2 Программы ПСК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ходит в группу с компаниями крупного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изнеса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 применяются процедуры несостоятельности (банкротства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762090" y="364629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106488" y="977760"/>
            <a:ext cx="38373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Базовый продукт «Экспресс поддержка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8826" y="3693252"/>
            <a:ext cx="4631067" cy="264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</a:t>
            </a: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получателю поддержки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08826" y="1356903"/>
            <a:ext cx="20906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редитования 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323961" y="1268258"/>
            <a:ext cx="21946" cy="4869733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5470030" y="1510791"/>
            <a:ext cx="4987999" cy="1946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рабатывающее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изводство, в том числе производство пищевых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дуктов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Первична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 последующая (промышленная)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ереработка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>
              <a:spcAft>
                <a:spcPts val="300"/>
              </a:spcAft>
              <a:buClr>
                <a:srgbClr val="F93458"/>
              </a:buClr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ельскохозяйственной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дукции, в том числе в целях обеспечени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мпортозамещени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 развития </a:t>
            </a:r>
            <a:r>
              <a:rPr lang="ru-RU" sz="1200" dirty="0" err="1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несырьевого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экспорта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ранспортировка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хранение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гостиниц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ь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офессиональная, научная и техническая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5568344" y="1153193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опустимые отрасли: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77313" y="1734369"/>
            <a:ext cx="496216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Инвестиционные цели – кредиты для создания и/или приобретения (сооружения, изготовления, достройки, дооборудования, реконструкции, модернизации и технического перевооружения) основных средств (включая строительство, реконструкцию, модернизацию объектов капитального строительства, в том числе выполнение инженерных изысканий, подготовку проектной документации для их строительства, реконструкции, модернизации) </a:t>
            </a:r>
            <a:endParaRPr lang="en-US" sz="1200" dirty="0" smtClean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551467" y="4452121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596878" y="5148662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406336" y="3496390"/>
            <a:ext cx="4092015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т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 млн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00/500 млн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и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лрд руб.</a:t>
            </a:r>
            <a:endParaRPr lang="ru-RU" sz="16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икро/малых и средних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едприятий</a:t>
            </a: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406337" y="4117805"/>
            <a:ext cx="4051693" cy="892552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10 лет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(льготный период – 5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лет. 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чении первых 3 лет ставк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2,5-4%,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тем 2 года ставка программы 1764, действующая на момент подписани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говора)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539728" y="3680941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612870" y="5669395"/>
            <a:ext cx="4885482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по кредиту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C00000"/>
                </a:solidFill>
                <a:latin typeface="Golos Text DemiBold" panose="020B0703020202020204" pitchFamily="34" charset="-52"/>
                <a:cs typeface="Golos Text DemiBold" panose="020B0703020202020204" pitchFamily="34" charset="-52"/>
              </a:rPr>
              <a:t>обсуждается индивидуально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большой выбор инструментов, в том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числе в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виде государственных гарантий и гарантий Корпорации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МСП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26416" y="5048444"/>
            <a:ext cx="3847780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r>
              <a:rPr lang="ru-RU" sz="16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5/3,5% </a:t>
            </a:r>
            <a:r>
              <a:rPr lang="ru-RU" sz="1600" b="1" dirty="0">
                <a:latin typeface="Century Gothic" panose="020B0502020202020204" pitchFamily="34" charset="0"/>
                <a:cs typeface="Helvetica" panose="020B0604020202020204" pitchFamily="34" charset="0"/>
              </a:rPr>
              <a:t>годовых</a:t>
            </a:r>
          </a:p>
          <a:p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для </a:t>
            </a:r>
            <a:r>
              <a:rPr lang="ru-RU" sz="1200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микро и малых/средних </a:t>
            </a:r>
            <a:r>
              <a:rPr lang="ru-RU" sz="1200" dirty="0">
                <a:latin typeface="Century Gothic" panose="020B0502020202020204" pitchFamily="34" charset="0"/>
                <a:cs typeface="Helvetica" panose="020B0604020202020204" pitchFamily="34" charset="0"/>
              </a:rPr>
              <a:t>предприятий</a:t>
            </a:r>
          </a:p>
          <a:p>
            <a:r>
              <a:rPr lang="ru-RU" sz="1200" b="1" dirty="0" smtClean="0"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endParaRPr lang="ru-RU" sz="1200" b="1" dirty="0"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527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3EF3B8-9D0D-4255-B93C-CCAC172D9B2A}"/>
              </a:ext>
            </a:extLst>
          </p:cNvPr>
          <p:cNvSpPr txBox="1">
            <a:spLocks/>
          </p:cNvSpPr>
          <p:nvPr/>
        </p:nvSpPr>
        <p:spPr>
          <a:xfrm>
            <a:off x="89513" y="352393"/>
            <a:ext cx="8334375" cy="4257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450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4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ts val="23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2400" b="1" dirty="0">
                <a:solidFill>
                  <a:srgbClr val="0225A3"/>
                </a:solidFill>
                <a:latin typeface="Century Gothic" panose="020B0502020202020204" pitchFamily="34" charset="0"/>
              </a:rPr>
              <a:t>Промышленная ипотека</a:t>
            </a:r>
          </a:p>
          <a:p>
            <a:endParaRPr lang="ru-RU" sz="20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" y="977759"/>
            <a:ext cx="10691813" cy="0"/>
          </a:xfrm>
          <a:prstGeom prst="line">
            <a:avLst/>
          </a:prstGeom>
          <a:ln w="19050">
            <a:solidFill>
              <a:srgbClr val="0022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74681" y="4589650"/>
            <a:ext cx="5271226" cy="29007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емщик - субъект деятельности в сфере промышленности, вид экономической деятельности которого относится к разделу "C" Общероссийского классификатора видов экономической деятельности, за исключением юридических лиц и индивидуальных предпринимателей, осуществляющих хозяйственную деятельность в сфере добычи и торговли сырой нефтью, природным газом, производства и торговли жидким топливом, производства и торговли табачными изделиями и алкогольной продукцией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Технологическа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мпания - юридическое лицо, получившее не позднее чем за 5 лет до даты заключения кредитного договора поддержку со стороны института инновационного развития в форме финансового обеспечения или в иных формах предоставления поддержки инновационной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еятельности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541876" y="1587789"/>
            <a:ext cx="7523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рок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599026" y="2153738"/>
            <a:ext cx="866607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330013" y="1080668"/>
            <a:ext cx="2891575" cy="338554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00 млн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уб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.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294184" y="1445852"/>
            <a:ext cx="4464869" cy="707886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 </a:t>
            </a:r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10 лет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Льготная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авка действует в течение 7 лет с даты заключения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оговора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406196" y="1951872"/>
            <a:ext cx="4156586" cy="769441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3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 годовых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технологических 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омпаний;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  <a:p>
            <a:r>
              <a:rPr lang="ru-RU" sz="16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5 </a:t>
            </a:r>
            <a:r>
              <a:rPr lang="ru-RU" sz="1600" b="1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% годовых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для иных заемщиков;</a:t>
            </a:r>
          </a:p>
          <a:p>
            <a:r>
              <a:rPr lang="ru-RU" sz="1200" b="1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 </a:t>
            </a:r>
            <a:endParaRPr lang="ru-RU" sz="1200" b="1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5541876" y="1168853"/>
            <a:ext cx="866608" cy="276999"/>
          </a:xfrm>
          <a:prstGeom prst="rect">
            <a:avLst/>
          </a:prstGeom>
          <a:noFill/>
          <a:ln w="0">
            <a:noFill/>
          </a:ln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rgbClr val="2240AD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умма</a:t>
            </a:r>
            <a:endParaRPr lang="ru-RU" sz="1200" dirty="0">
              <a:solidFill>
                <a:srgbClr val="2240AD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6A2B62-1B9A-B24D-844B-DD1823BA1CD2}"/>
              </a:ext>
            </a:extLst>
          </p:cNvPr>
          <p:cNvSpPr/>
          <p:nvPr/>
        </p:nvSpPr>
        <p:spPr>
          <a:xfrm>
            <a:off x="8625345" y="596671"/>
            <a:ext cx="193970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75000"/>
              </a:lnSpc>
            </a:pPr>
            <a:r>
              <a:rPr lang="en-US" sz="1400" b="1" i="1" dirty="0">
                <a:solidFill>
                  <a:srgbClr val="F83458"/>
                </a:solidFill>
                <a:latin typeface="Century Gothic" panose="020B0502020202020204" pitchFamily="34" charset="0"/>
              </a:rPr>
              <a:t>#</a:t>
            </a:r>
            <a:r>
              <a:rPr lang="ru-RU" sz="1400" b="1" i="1" dirty="0" err="1">
                <a:solidFill>
                  <a:srgbClr val="F83458"/>
                </a:solidFill>
                <a:latin typeface="Century Gothic" panose="020B0502020202020204" pitchFamily="34" charset="0"/>
              </a:rPr>
              <a:t>финансы_мсп</a:t>
            </a:r>
            <a:endParaRPr lang="ru-RU" sz="1400" b="1" i="1" dirty="0">
              <a:solidFill>
                <a:srgbClr val="F83458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0" y="1286058"/>
            <a:ext cx="5172075" cy="2977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риобретение объектов недвижимого имущества (в том числе объектов незавершенного строительства);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конструкция и (или) модернизация объектов недвижимого имущества, приобретаемых заемщиком в целях осуществления промышленного производства (включая подготовку проектной документации);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реконструкция и (или) модернизация объектов недвижимого имущества, принадлежащих заемщику, не используемых в целях осуществления промышленного производства, для последующего использования в целях осуществления промышленного производства (включая подготовку проектной документации);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строительство объектов недвижимого имущества в целях осуществления промышленного производства (включая подготовку проектной документации);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382" y="4230694"/>
            <a:ext cx="5343525" cy="2646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рет 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емщика: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9513" y="1014964"/>
            <a:ext cx="2012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 кредитования </a:t>
            </a:r>
          </a:p>
        </p:txBody>
      </p:sp>
      <p:cxnSp>
        <p:nvCxnSpPr>
          <p:cNvPr id="94" name="Прямая соединительная линия 93"/>
          <p:cNvCxnSpPr/>
          <p:nvPr/>
        </p:nvCxnSpPr>
        <p:spPr>
          <a:xfrm>
            <a:off x="5345907" y="1988076"/>
            <a:ext cx="0" cy="3936378"/>
          </a:xfrm>
          <a:prstGeom prst="line">
            <a:avLst/>
          </a:prstGeom>
          <a:ln w="19050">
            <a:solidFill>
              <a:srgbClr val="2240A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6510" y="153970"/>
            <a:ext cx="1658535" cy="35680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9513" y="639596"/>
            <a:ext cx="83600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Данная программа действует в </a:t>
            </a:r>
            <a:r>
              <a:rPr lang="ru-RU" sz="12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рамках Постановления </a:t>
            </a:r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Правительства </a:t>
            </a:r>
            <a:r>
              <a:rPr lang="ru-RU" sz="12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РФ №</a:t>
            </a:r>
            <a:r>
              <a:rPr lang="ru-RU" sz="1200" dirty="0">
                <a:solidFill>
                  <a:srgbClr val="0225A3"/>
                </a:solidFill>
                <a:latin typeface="Century Gothic" panose="020B0502020202020204" pitchFamily="34" charset="0"/>
              </a:rPr>
              <a:t>1570 </a:t>
            </a:r>
            <a:r>
              <a:rPr lang="ru-RU" sz="1200" dirty="0" smtClean="0">
                <a:solidFill>
                  <a:srgbClr val="0225A3"/>
                </a:solidFill>
                <a:latin typeface="Century Gothic" panose="020B0502020202020204" pitchFamily="34" charset="0"/>
              </a:rPr>
              <a:t>от 06.09.2022 года</a:t>
            </a:r>
            <a:endParaRPr lang="ru-RU" sz="1200" dirty="0">
              <a:solidFill>
                <a:srgbClr val="0225A3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497211" y="2958434"/>
            <a:ext cx="5216875" cy="45320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язателен </a:t>
            </a: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залог приобретаемого объекта недвижимого имущества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Обязательно использование не менее 50% площади объекта недвижимого имущества для промышленного производства в течение срока действия кредитного договора с даты, не позднее чем через 3 календарных года с даты заключения кредитного договора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По кредиту на модернизацию Объектов обязательно увеличение общего годового объема производства и реализации промышленной продукции заемщиком на ≥50% до истечения 2 лет со дня завершения инвестиционной фазы (модернизации Объектов) в соответствии со сроком, указанным в кредитном договоре, по сравнению с календарным годом, предшествующим году заключения кредитного договора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Кредитный договор предусматривает предоставление кредита по льготной ставке в пределах стоимости 1 кв. м площади: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- для приобретаемых Объектов: ≤ 75 тыс рублей (в г. Москва, Московская обл., г. Санкт-Петербург) / ≤ 50 тыс рублей (в иных субъектах РФ)</a:t>
            </a:r>
          </a:p>
          <a:p>
            <a:pPr marL="171450" indent="-171450">
              <a:spcAft>
                <a:spcPts val="300"/>
              </a:spcAft>
              <a:buClr>
                <a:srgbClr val="F93458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- для строящихся/ реконструируемых/ модернизируемых Объектов ≤ 90 тыс рублей</a:t>
            </a:r>
            <a:r>
              <a:rPr lang="ru-RU" sz="1200" dirty="0" smtClean="0">
                <a:solidFill>
                  <a:prstClr val="black"/>
                </a:solidFill>
                <a:latin typeface="Century Gothic" panose="020B0502020202020204" pitchFamily="34" charset="0"/>
                <a:cs typeface="Helvetica" panose="020B0604020202020204" pitchFamily="34" charset="0"/>
              </a:rPr>
              <a:t>.</a:t>
            </a:r>
            <a:endParaRPr lang="ru-RU" sz="1200" dirty="0">
              <a:solidFill>
                <a:prstClr val="black"/>
              </a:solidFill>
              <a:latin typeface="Century Gothic" panose="020B0502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497211" y="2642583"/>
            <a:ext cx="4510950" cy="264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spcAft>
                <a:spcPts val="300"/>
              </a:spcAft>
            </a:pPr>
            <a:r>
              <a:rPr lang="ru-RU" sz="1400" b="1" dirty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я к проекту</a:t>
            </a:r>
            <a:r>
              <a:rPr lang="ru-RU" sz="1400" b="1" dirty="0" smtClean="0">
                <a:solidFill>
                  <a:srgbClr val="0628A2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ru-RU" sz="1400" b="1" dirty="0">
              <a:solidFill>
                <a:srgbClr val="0628A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188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452" y="2378148"/>
            <a:ext cx="3666548" cy="153818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45066" y="4134900"/>
            <a:ext cx="454189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300" dirty="0" smtClean="0">
                <a:solidFill>
                  <a:srgbClr val="0071BD"/>
                </a:solidFill>
                <a:latin typeface="Golos UI"/>
                <a:ea typeface="Golos Text VF DemiBold" pitchFamily="2" charset="0"/>
                <a:cs typeface="Golos UI Medium" panose="020B0604020202020204" pitchFamily="34" charset="-52"/>
              </a:rPr>
              <a:t>Спасибо за внимание!</a:t>
            </a:r>
            <a:endParaRPr lang="ru-RU" sz="3300" dirty="0">
              <a:solidFill>
                <a:srgbClr val="0071BD"/>
              </a:solidFill>
              <a:latin typeface="Golos UI"/>
              <a:ea typeface="Golos Text VF DemiBold" pitchFamily="2" charset="0"/>
              <a:cs typeface="Golos UI Medium" panose="020B0604020202020204" pitchFamily="34" charset="-5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6042" y="5087947"/>
            <a:ext cx="4601276" cy="1384906"/>
          </a:xfrm>
          <a:prstGeom prst="rect">
            <a:avLst/>
          </a:prstGeom>
          <a:noFill/>
        </p:spPr>
        <p:txBody>
          <a:bodyPr wrap="square" lIns="91349" tIns="45676" rIns="91349" bIns="45676" rtlCol="0">
            <a:spAutoFit/>
          </a:bodyPr>
          <a:lstStyle/>
          <a:p>
            <a:pPr>
              <a:defRPr/>
            </a:pP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сультации:  </a:t>
            </a:r>
            <a:endParaRPr lang="ru-RU" sz="1400" kern="0" dirty="0">
              <a:solidFill>
                <a:srgbClr val="4D4D4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агин Александр г. Тюмень</a:t>
            </a:r>
          </a:p>
          <a:p>
            <a:pPr>
              <a:defRPr/>
            </a:pP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т. </a:t>
            </a:r>
            <a:r>
              <a:rPr lang="ru-RU" sz="1400" b="1" kern="0" dirty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 </a:t>
            </a:r>
            <a:r>
              <a:rPr lang="ru-RU" sz="1400" b="1" kern="0" dirty="0" smtClean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05 820 3789, </a:t>
            </a:r>
            <a:r>
              <a:rPr lang="ru-RU" sz="1400" kern="0" dirty="0" smtClean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лектронный </a:t>
            </a:r>
            <a:r>
              <a:rPr lang="ru-RU" sz="1400" kern="0" dirty="0">
                <a:solidFill>
                  <a:srgbClr val="4D4D4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дрес: </a:t>
            </a:r>
            <a:r>
              <a:rPr lang="en-US" sz="1400" b="1" kern="0" dirty="0" smtClean="0">
                <a:solidFill>
                  <a:srgbClr val="ED1B34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/>
              </a:rPr>
              <a:t>vagin@mspbank.ru</a:t>
            </a:r>
            <a:endParaRPr lang="ru-RU" sz="1400" b="1" kern="0" dirty="0" smtClean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endParaRPr lang="ru-RU" sz="1400" b="1" kern="0" dirty="0">
              <a:solidFill>
                <a:srgbClr val="ED1B34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defRPr/>
            </a:pPr>
            <a:r>
              <a:rPr lang="en-US" sz="1400" b="1" kern="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mspbank.ru</a:t>
            </a:r>
            <a:endParaRPr lang="ru-RU" sz="1400" b="1" kern="0" dirty="0">
              <a:solidFill>
                <a:prstClr val="black">
                  <a:lumMod val="65000"/>
                  <a:lumOff val="35000"/>
                </a:prst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97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A568FDB8-086E-4AFE-83B3-F4E1050BFE15}" vid="{033AE83B-7C0A-43F7-B437-6EC35A0AD09A}"/>
    </a:ext>
  </a:extLst>
</a:theme>
</file>

<file path=ppt/theme/theme2.xml><?xml version="1.0" encoding="utf-8"?>
<a:theme xmlns:a="http://schemas.openxmlformats.org/drawingml/2006/main" name="1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A568FDB8-086E-4AFE-83B3-F4E1050BFE15}" vid="{033AE83B-7C0A-43F7-B437-6EC35A0AD09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Тема1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A568FDB8-086E-4AFE-83B3-F4E1050BFE15}" vid="{033AE83B-7C0A-43F7-B437-6EC35A0AD09A}"/>
    </a:ext>
  </a:extLst>
</a:theme>
</file>

<file path=ppt/theme/theme6.xml><?xml version="1.0" encoding="utf-8"?>
<a:theme xmlns:a="http://schemas.openxmlformats.org/drawingml/2006/main" name="Voodoo2 Powerpoint Template">
  <a:themeElements>
    <a:clrScheme name="MSP Bank">
      <a:dk1>
        <a:srgbClr val="222222"/>
      </a:dk1>
      <a:lt1>
        <a:srgbClr val="F0F0F0"/>
      </a:lt1>
      <a:dk2>
        <a:srgbClr val="222222"/>
      </a:dk2>
      <a:lt2>
        <a:srgbClr val="FEFFFF"/>
      </a:lt2>
      <a:accent1>
        <a:srgbClr val="1D46F3"/>
      </a:accent1>
      <a:accent2>
        <a:srgbClr val="FE5757"/>
      </a:accent2>
      <a:accent3>
        <a:srgbClr val="FE0061"/>
      </a:accent3>
      <a:accent4>
        <a:srgbClr val="A905B7"/>
      </a:accent4>
      <a:accent5>
        <a:srgbClr val="7030BD"/>
      </a:accent5>
      <a:accent6>
        <a:srgbClr val="3C4EBC"/>
      </a:accent6>
      <a:hlink>
        <a:srgbClr val="5352F5"/>
      </a:hlink>
      <a:folHlink>
        <a:srgbClr val="BFBFBF"/>
      </a:folHlink>
    </a:clrScheme>
    <a:fontScheme name="Montserrat + Golos UI">
      <a:majorFont>
        <a:latin typeface="Montserrat Bold"/>
        <a:ea typeface=""/>
        <a:cs typeface=""/>
      </a:majorFont>
      <a:minorFont>
        <a:latin typeface="Golos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36000" rIns="144000" bIns="36000" rtlCol="0">
        <a:spAutoFit/>
      </a:bodyPr>
      <a:lstStyle>
        <a:defPPr>
          <a:lnSpc>
            <a:spcPct val="120000"/>
          </a:lnSpc>
          <a:spcBef>
            <a:spcPts val="1000"/>
          </a:spcBef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&amp;D-Powerpoint Template_16x9" id="{D6003E70-2833-4847-828A-A182BBF6C8FF}" vid="{85D7DE89-D8E2-D743-952C-ED1FA0F18479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36</TotalTime>
  <Words>1888</Words>
  <Application>Microsoft Office PowerPoint</Application>
  <PresentationFormat>Произвольный</PresentationFormat>
  <Paragraphs>228</Paragraphs>
  <Slides>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31" baseType="lpstr">
      <vt:lpstr>Arial</vt:lpstr>
      <vt:lpstr>Calibri</vt:lpstr>
      <vt:lpstr>Calibri Light</vt:lpstr>
      <vt:lpstr>Century Gothic</vt:lpstr>
      <vt:lpstr>Golos Text DemiBold</vt:lpstr>
      <vt:lpstr>Golos Text VF DemiBold</vt:lpstr>
      <vt:lpstr>Golos UI</vt:lpstr>
      <vt:lpstr>Golos UI Medium</vt:lpstr>
      <vt:lpstr>Helvetica</vt:lpstr>
      <vt:lpstr>Montserrat Bold</vt:lpstr>
      <vt:lpstr>Montserrat SemiBold</vt:lpstr>
      <vt:lpstr>Open Sans SemiBold</vt:lpstr>
      <vt:lpstr>Segoe UI</vt:lpstr>
      <vt:lpstr>Tahoma</vt:lpstr>
      <vt:lpstr>Times New Roman</vt:lpstr>
      <vt:lpstr>Wingdings</vt:lpstr>
      <vt:lpstr>Тема1</vt:lpstr>
      <vt:lpstr>1_Тема1</vt:lpstr>
      <vt:lpstr>1_Тема Office</vt:lpstr>
      <vt:lpstr>2_Тема Office</vt:lpstr>
      <vt:lpstr>5_Тема1</vt:lpstr>
      <vt:lpstr>Voodoo2 Powerpoint Template</vt:lpstr>
      <vt:lpstr>Слайд think-cell</vt:lpstr>
      <vt:lpstr>Инструменты финансовой поддержки поставщиков – субъектов МСП  АО «МСП Банк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Вагин Александр Александрович</cp:lastModifiedBy>
  <cp:revision>481</cp:revision>
  <cp:lastPrinted>2021-06-11T12:36:52Z</cp:lastPrinted>
  <dcterms:created xsi:type="dcterms:W3CDTF">2021-02-03T17:39:42Z</dcterms:created>
  <dcterms:modified xsi:type="dcterms:W3CDTF">2023-08-08T10:10:12Z</dcterms:modified>
</cp:coreProperties>
</file>